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457_F3EFD875.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16" r:id="rId3"/>
    <p:sldMasterId id="2147483804" r:id="rId4"/>
  </p:sldMasterIdLst>
  <p:notesMasterIdLst>
    <p:notesMasterId r:id="rId23"/>
  </p:notesMasterIdLst>
  <p:sldIdLst>
    <p:sldId id="1791" r:id="rId5"/>
    <p:sldId id="2135" r:id="rId6"/>
    <p:sldId id="698" r:id="rId7"/>
    <p:sldId id="2136" r:id="rId8"/>
    <p:sldId id="831" r:id="rId9"/>
    <p:sldId id="2150" r:id="rId10"/>
    <p:sldId id="2147" r:id="rId11"/>
    <p:sldId id="2149" r:id="rId12"/>
    <p:sldId id="2151" r:id="rId13"/>
    <p:sldId id="2139" r:id="rId14"/>
    <p:sldId id="2145" r:id="rId15"/>
    <p:sldId id="2146" r:id="rId16"/>
    <p:sldId id="2138" r:id="rId17"/>
    <p:sldId id="1111" r:id="rId18"/>
    <p:sldId id="2142" r:id="rId19"/>
    <p:sldId id="2141" r:id="rId20"/>
    <p:sldId id="2152" r:id="rId21"/>
    <p:sldId id="2143"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15B98C-44B5-3E13-76B9-4E00F420998D}" name="Medal, Lionel" initials="ML" userId="S::lmedal@deloitte.com::05077316-feea-4dfe-9fe2-535b090a874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25815"/>
    <a:srgbClr val="70AD47"/>
    <a:srgbClr val="A2D335"/>
    <a:srgbClr val="86BC25"/>
    <a:srgbClr val="009A44"/>
    <a:srgbClr val="C4D600"/>
    <a:srgbClr val="26890D"/>
    <a:srgbClr val="43B02A"/>
    <a:srgbClr val="84B9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14E898-93AE-43E9-A31B-1164B4C54D66}" v="1649" dt="2022-10-28T17:55:43.581"/>
    <p1510:client id="{28230953-AD3D-4B99-943A-C24E554285D4}" v="20" dt="2022-10-27T19:30:00.846"/>
    <p1510:client id="{29F4B563-EADC-4859-8E21-6513DD83A3EB}" v="9499" dt="2022-10-28T16:32:31.883"/>
    <p1510:client id="{86FBF41A-4D14-4DF7-A011-4E27C354BDA0}" v="10" dt="2022-10-28T00:44:07.836"/>
    <p1510:client id="{A8AB731F-7046-4B62-9CEB-54A0FFBB8D63}" v="238" dt="2022-10-28T16:06:56.569"/>
    <p1510:client id="{BBA0A5DA-00D2-4F79-AEBC-6D128579980A}" v="10" dt="2022-10-28T13:54:26.402"/>
    <p1510:client id="{CFAC143C-5EAF-4B66-94A3-A6F88F9B44AA}" v="1" dt="2022-10-28T12:19:45.8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lindo De La Serna, Josue Irad" userId="S::jgalindodelaserna@deloitte.com::6f28b782-ce2c-4da4-8607-aa4cb9cad87d" providerId="AD" clId="Web-{3CFB8912-FC5A-424B-BF16-9C17B3F52E75}"/>
    <pc:docChg chg="modSld">
      <pc:chgData name="Galindo De La Serna, Josue Irad" userId="S::jgalindodelaserna@deloitte.com::6f28b782-ce2c-4da4-8607-aa4cb9cad87d" providerId="AD" clId="Web-{3CFB8912-FC5A-424B-BF16-9C17B3F52E75}" dt="2022-10-27T13:46:20.442" v="706" actId="14100"/>
      <pc:docMkLst>
        <pc:docMk/>
      </pc:docMkLst>
      <pc:sldChg chg="modSp">
        <pc:chgData name="Galindo De La Serna, Josue Irad" userId="S::jgalindodelaserna@deloitte.com::6f28b782-ce2c-4da4-8607-aa4cb9cad87d" providerId="AD" clId="Web-{3CFB8912-FC5A-424B-BF16-9C17B3F52E75}" dt="2022-10-27T13:46:20.442" v="706" actId="14100"/>
        <pc:sldMkLst>
          <pc:docMk/>
          <pc:sldMk cId="4092582005" sldId="1111"/>
        </pc:sldMkLst>
        <pc:spChg chg="mod">
          <ac:chgData name="Galindo De La Serna, Josue Irad" userId="S::jgalindodelaserna@deloitte.com::6f28b782-ce2c-4da4-8607-aa4cb9cad87d" providerId="AD" clId="Web-{3CFB8912-FC5A-424B-BF16-9C17B3F52E75}" dt="2022-10-27T13:46:20.442" v="706" actId="14100"/>
          <ac:spMkLst>
            <pc:docMk/>
            <pc:sldMk cId="4092582005" sldId="1111"/>
            <ac:spMk id="58" creationId="{4CB3C754-9E33-3842-974C-E961090B698A}"/>
          </ac:spMkLst>
        </pc:spChg>
      </pc:sldChg>
      <pc:sldChg chg="addSp modSp">
        <pc:chgData name="Galindo De La Serna, Josue Irad" userId="S::jgalindodelaserna@deloitte.com::6f28b782-ce2c-4da4-8607-aa4cb9cad87d" providerId="AD" clId="Web-{3CFB8912-FC5A-424B-BF16-9C17B3F52E75}" dt="2022-10-27T13:34:06.619" v="8"/>
        <pc:sldMkLst>
          <pc:docMk/>
          <pc:sldMk cId="3904207690" sldId="2135"/>
        </pc:sldMkLst>
        <pc:picChg chg="add mod modCrop">
          <ac:chgData name="Galindo De La Serna, Josue Irad" userId="S::jgalindodelaserna@deloitte.com::6f28b782-ce2c-4da4-8607-aa4cb9cad87d" providerId="AD" clId="Web-{3CFB8912-FC5A-424B-BF16-9C17B3F52E75}" dt="2022-10-27T13:34:06.619" v="8"/>
          <ac:picMkLst>
            <pc:docMk/>
            <pc:sldMk cId="3904207690" sldId="2135"/>
            <ac:picMk id="15" creationId="{18F3721F-113E-C6D7-32D2-BA3E61CF5333}"/>
          </ac:picMkLst>
        </pc:picChg>
      </pc:sldChg>
    </pc:docChg>
  </pc:docChgLst>
  <pc:docChgLst>
    <pc:chgData name="Medal, Lionel" userId="05077316-feea-4dfe-9fe2-535b090a8745" providerId="ADAL" clId="{28230953-AD3D-4B99-943A-C24E554285D4}"/>
    <pc:docChg chg="addSld modSld">
      <pc:chgData name="Medal, Lionel" userId="05077316-feea-4dfe-9fe2-535b090a8745" providerId="ADAL" clId="{28230953-AD3D-4B99-943A-C24E554285D4}" dt="2022-10-27T19:30:00.846" v="20"/>
      <pc:docMkLst>
        <pc:docMk/>
      </pc:docMkLst>
      <pc:sldChg chg="modSp mod addCm delCm">
        <pc:chgData name="Medal, Lionel" userId="05077316-feea-4dfe-9fe2-535b090a8745" providerId="ADAL" clId="{28230953-AD3D-4B99-943A-C24E554285D4}" dt="2022-10-27T19:16:12.543" v="13"/>
        <pc:sldMkLst>
          <pc:docMk/>
          <pc:sldMk cId="4092582005" sldId="1111"/>
        </pc:sldMkLst>
        <pc:spChg chg="mod">
          <ac:chgData name="Medal, Lionel" userId="05077316-feea-4dfe-9fe2-535b090a8745" providerId="ADAL" clId="{28230953-AD3D-4B99-943A-C24E554285D4}" dt="2022-10-27T19:14:18.872" v="10" actId="20577"/>
          <ac:spMkLst>
            <pc:docMk/>
            <pc:sldMk cId="4092582005" sldId="1111"/>
            <ac:spMk id="57" creationId="{47666E0F-CA29-684F-983B-621C31E3536E}"/>
          </ac:spMkLst>
        </pc:spChg>
      </pc:sldChg>
      <pc:sldChg chg="modSp mod">
        <pc:chgData name="Medal, Lionel" userId="05077316-feea-4dfe-9fe2-535b090a8745" providerId="ADAL" clId="{28230953-AD3D-4B99-943A-C24E554285D4}" dt="2022-10-25T22:03:03.334" v="0" actId="20577"/>
        <pc:sldMkLst>
          <pc:docMk/>
          <pc:sldMk cId="3904207690" sldId="2135"/>
        </pc:sldMkLst>
        <pc:spChg chg="mod">
          <ac:chgData name="Medal, Lionel" userId="05077316-feea-4dfe-9fe2-535b090a8745" providerId="ADAL" clId="{28230953-AD3D-4B99-943A-C24E554285D4}" dt="2022-10-25T22:03:03.334" v="0" actId="20577"/>
          <ac:spMkLst>
            <pc:docMk/>
            <pc:sldMk cId="3904207690" sldId="2135"/>
            <ac:spMk id="8" creationId="{920A127D-2720-4AB3-A987-25869DCE7B9E}"/>
          </ac:spMkLst>
        </pc:spChg>
      </pc:sldChg>
      <pc:sldChg chg="addSp delSp modSp add mod modShow addCm">
        <pc:chgData name="Medal, Lionel" userId="05077316-feea-4dfe-9fe2-535b090a8745" providerId="ADAL" clId="{28230953-AD3D-4B99-943A-C24E554285D4}" dt="2022-10-27T19:30:00.846" v="20"/>
        <pc:sldMkLst>
          <pc:docMk/>
          <pc:sldMk cId="1133429887" sldId="2150"/>
        </pc:sldMkLst>
        <pc:picChg chg="add mod">
          <ac:chgData name="Medal, Lionel" userId="05077316-feea-4dfe-9fe2-535b090a8745" providerId="ADAL" clId="{28230953-AD3D-4B99-943A-C24E554285D4}" dt="2022-10-27T19:28:26.818" v="19" actId="1076"/>
          <ac:picMkLst>
            <pc:docMk/>
            <pc:sldMk cId="1133429887" sldId="2150"/>
            <ac:picMk id="3" creationId="{D297AF41-969C-468B-96B8-0DEA85876C2C}"/>
          </ac:picMkLst>
        </pc:picChg>
        <pc:picChg chg="del">
          <ac:chgData name="Medal, Lionel" userId="05077316-feea-4dfe-9fe2-535b090a8745" providerId="ADAL" clId="{28230953-AD3D-4B99-943A-C24E554285D4}" dt="2022-10-27T19:28:19.517" v="16" actId="478"/>
          <ac:picMkLst>
            <pc:docMk/>
            <pc:sldMk cId="1133429887" sldId="2150"/>
            <ac:picMk id="1027" creationId="{C39806A0-C3EC-4D91-B7FF-8202A18A8A59}"/>
          </ac:picMkLst>
        </pc:picChg>
      </pc:sldChg>
    </pc:docChg>
  </pc:docChgLst>
  <pc:docChgLst>
    <pc:chgData name="Galindo De La Serna, Josue Irad" userId="S::jgalindodelaserna@deloitte.com::6f28b782-ce2c-4da4-8607-aa4cb9cad87d" providerId="AD" clId="Web-{CFAC143C-5EAF-4B66-94A3-A6F88F9B44AA}"/>
    <pc:docChg chg="delSld">
      <pc:chgData name="Galindo De La Serna, Josue Irad" userId="S::jgalindodelaserna@deloitte.com::6f28b782-ce2c-4da4-8607-aa4cb9cad87d" providerId="AD" clId="Web-{CFAC143C-5EAF-4B66-94A3-A6F88F9B44AA}" dt="2022-10-28T12:19:45.867" v="0"/>
      <pc:docMkLst>
        <pc:docMk/>
      </pc:docMkLst>
      <pc:sldChg chg="del">
        <pc:chgData name="Galindo De La Serna, Josue Irad" userId="S::jgalindodelaserna@deloitte.com::6f28b782-ce2c-4da4-8607-aa4cb9cad87d" providerId="AD" clId="Web-{CFAC143C-5EAF-4B66-94A3-A6F88F9B44AA}" dt="2022-10-28T12:19:45.867" v="0"/>
        <pc:sldMkLst>
          <pc:docMk/>
          <pc:sldMk cId="205456675" sldId="2148"/>
        </pc:sldMkLst>
      </pc:sldChg>
    </pc:docChg>
  </pc:docChgLst>
  <pc:docChgLst>
    <pc:chgData name="Helson, Madelyn" userId="S::mhelson@deloitte.com::b8387ea0-a4af-45e1-9747-7dabd6c5d9bc" providerId="AD" clId="Web-{9FBDAC6C-0849-49A7-B814-B484F474673E}"/>
    <pc:docChg chg="modSld">
      <pc:chgData name="Helson, Madelyn" userId="S::mhelson@deloitte.com::b8387ea0-a4af-45e1-9747-7dabd6c5d9bc" providerId="AD" clId="Web-{9FBDAC6C-0849-49A7-B814-B484F474673E}" dt="2022-10-27T15:34:06.462" v="63" actId="20577"/>
      <pc:docMkLst>
        <pc:docMk/>
      </pc:docMkLst>
      <pc:sldChg chg="modSp">
        <pc:chgData name="Helson, Madelyn" userId="S::mhelson@deloitte.com::b8387ea0-a4af-45e1-9747-7dabd6c5d9bc" providerId="AD" clId="Web-{9FBDAC6C-0849-49A7-B814-B484F474673E}" dt="2022-10-27T15:34:06.462" v="63" actId="20577"/>
        <pc:sldMkLst>
          <pc:docMk/>
          <pc:sldMk cId="4092582005" sldId="1111"/>
        </pc:sldMkLst>
        <pc:spChg chg="mod">
          <ac:chgData name="Helson, Madelyn" userId="S::mhelson@deloitte.com::b8387ea0-a4af-45e1-9747-7dabd6c5d9bc" providerId="AD" clId="Web-{9FBDAC6C-0849-49A7-B814-B484F474673E}" dt="2022-10-27T15:34:06.462" v="63" actId="20577"/>
          <ac:spMkLst>
            <pc:docMk/>
            <pc:sldMk cId="4092582005" sldId="1111"/>
            <ac:spMk id="59" creationId="{45623FCC-20B3-8A49-81D9-8CFFBCC3285E}"/>
          </ac:spMkLst>
        </pc:spChg>
      </pc:sldChg>
    </pc:docChg>
  </pc:docChgLst>
  <pc:docChgLst>
    <pc:chgData name="Helson, Madelyn" userId="S::mhelson@deloitte.com::b8387ea0-a4af-45e1-9747-7dabd6c5d9bc" providerId="AD" clId="Web-{B3549A65-D2E2-4487-8EDE-92B61E1C999D}"/>
    <pc:docChg chg="modSld">
      <pc:chgData name="Helson, Madelyn" userId="S::mhelson@deloitte.com::b8387ea0-a4af-45e1-9747-7dabd6c5d9bc" providerId="AD" clId="Web-{B3549A65-D2E2-4487-8EDE-92B61E1C999D}" dt="2022-10-27T15:16:09.486" v="169" actId="20577"/>
      <pc:docMkLst>
        <pc:docMk/>
      </pc:docMkLst>
      <pc:sldChg chg="modSp">
        <pc:chgData name="Helson, Madelyn" userId="S::mhelson@deloitte.com::b8387ea0-a4af-45e1-9747-7dabd6c5d9bc" providerId="AD" clId="Web-{B3549A65-D2E2-4487-8EDE-92B61E1C999D}" dt="2022-10-27T15:16:09.486" v="169" actId="20577"/>
        <pc:sldMkLst>
          <pc:docMk/>
          <pc:sldMk cId="4092582005" sldId="1111"/>
        </pc:sldMkLst>
        <pc:spChg chg="mod">
          <ac:chgData name="Helson, Madelyn" userId="S::mhelson@deloitte.com::b8387ea0-a4af-45e1-9747-7dabd6c5d9bc" providerId="AD" clId="Web-{B3549A65-D2E2-4487-8EDE-92B61E1C999D}" dt="2022-10-27T15:16:09.486" v="169" actId="20577"/>
          <ac:spMkLst>
            <pc:docMk/>
            <pc:sldMk cId="4092582005" sldId="1111"/>
            <ac:spMk id="59" creationId="{45623FCC-20B3-8A49-81D9-8CFFBCC3285E}"/>
          </ac:spMkLst>
        </pc:spChg>
      </pc:sldChg>
    </pc:docChg>
  </pc:docChgLst>
  <pc:docChgLst>
    <pc:chgData name="Wargo, Joseph" userId="73d5fbe4-171b-4e61-a466-bb1c674c9427" providerId="ADAL" clId="{A8AB731F-7046-4B62-9CEB-54A0FFBB8D63}"/>
    <pc:docChg chg="undo custSel modSld sldOrd">
      <pc:chgData name="Wargo, Joseph" userId="73d5fbe4-171b-4e61-a466-bb1c674c9427" providerId="ADAL" clId="{A8AB731F-7046-4B62-9CEB-54A0FFBB8D63}" dt="2022-10-28T16:06:56.569" v="239" actId="1076"/>
      <pc:docMkLst>
        <pc:docMk/>
      </pc:docMkLst>
      <pc:sldChg chg="modNotesTx">
        <pc:chgData name="Wargo, Joseph" userId="73d5fbe4-171b-4e61-a466-bb1c674c9427" providerId="ADAL" clId="{A8AB731F-7046-4B62-9CEB-54A0FFBB8D63}" dt="2022-10-27T18:49:39.649" v="70" actId="20577"/>
        <pc:sldMkLst>
          <pc:docMk/>
          <pc:sldMk cId="3032595839" sldId="831"/>
        </pc:sldMkLst>
      </pc:sldChg>
      <pc:sldChg chg="modNotesTx">
        <pc:chgData name="Wargo, Joseph" userId="73d5fbe4-171b-4e61-a466-bb1c674c9427" providerId="ADAL" clId="{A8AB731F-7046-4B62-9CEB-54A0FFBB8D63}" dt="2022-10-27T18:49:30.825" v="38" actId="20577"/>
        <pc:sldMkLst>
          <pc:docMk/>
          <pc:sldMk cId="4092582005" sldId="1111"/>
        </pc:sldMkLst>
      </pc:sldChg>
      <pc:sldChg chg="modSp mod">
        <pc:chgData name="Wargo, Joseph" userId="73d5fbe4-171b-4e61-a466-bb1c674c9427" providerId="ADAL" clId="{A8AB731F-7046-4B62-9CEB-54A0FFBB8D63}" dt="2022-10-28T16:06:56.569" v="239" actId="1076"/>
        <pc:sldMkLst>
          <pc:docMk/>
          <pc:sldMk cId="1519144107" sldId="2136"/>
        </pc:sldMkLst>
        <pc:spChg chg="mod">
          <ac:chgData name="Wargo, Joseph" userId="73d5fbe4-171b-4e61-a466-bb1c674c9427" providerId="ADAL" clId="{A8AB731F-7046-4B62-9CEB-54A0FFBB8D63}" dt="2022-10-28T16:06:38.411" v="234" actId="14100"/>
          <ac:spMkLst>
            <pc:docMk/>
            <pc:sldMk cId="1519144107" sldId="2136"/>
            <ac:spMk id="4" creationId="{5525CB07-3800-4A97-85E3-0AE7D72A0DE4}"/>
          </ac:spMkLst>
        </pc:spChg>
        <pc:spChg chg="mod">
          <ac:chgData name="Wargo, Joseph" userId="73d5fbe4-171b-4e61-a466-bb1c674c9427" providerId="ADAL" clId="{A8AB731F-7046-4B62-9CEB-54A0FFBB8D63}" dt="2022-10-28T16:06:41.583" v="235" actId="14100"/>
          <ac:spMkLst>
            <pc:docMk/>
            <pc:sldMk cId="1519144107" sldId="2136"/>
            <ac:spMk id="5" creationId="{4F555DBF-F3DA-43C3-A3DF-6797286A6EE7}"/>
          </ac:spMkLst>
        </pc:spChg>
        <pc:spChg chg="mod">
          <ac:chgData name="Wargo, Joseph" userId="73d5fbe4-171b-4e61-a466-bb1c674c9427" providerId="ADAL" clId="{A8AB731F-7046-4B62-9CEB-54A0FFBB8D63}" dt="2022-10-28T16:06:28.625" v="232" actId="14100"/>
          <ac:spMkLst>
            <pc:docMk/>
            <pc:sldMk cId="1519144107" sldId="2136"/>
            <ac:spMk id="6" creationId="{8DF57EA6-BCAD-4896-9D92-5AD423CEB96B}"/>
          </ac:spMkLst>
        </pc:spChg>
        <pc:spChg chg="mod">
          <ac:chgData name="Wargo, Joseph" userId="73d5fbe4-171b-4e61-a466-bb1c674c9427" providerId="ADAL" clId="{A8AB731F-7046-4B62-9CEB-54A0FFBB8D63}" dt="2022-10-28T16:06:46.122" v="237" actId="1076"/>
          <ac:spMkLst>
            <pc:docMk/>
            <pc:sldMk cId="1519144107" sldId="2136"/>
            <ac:spMk id="7" creationId="{6F33D924-3B45-4E3A-BE6D-E16EA6A5B31F}"/>
          </ac:spMkLst>
        </pc:spChg>
        <pc:picChg chg="mod">
          <ac:chgData name="Wargo, Joseph" userId="73d5fbe4-171b-4e61-a466-bb1c674c9427" providerId="ADAL" clId="{A8AB731F-7046-4B62-9CEB-54A0FFBB8D63}" dt="2022-10-28T16:06:56.569" v="239" actId="1076"/>
          <ac:picMkLst>
            <pc:docMk/>
            <pc:sldMk cId="1519144107" sldId="2136"/>
            <ac:picMk id="25" creationId="{7DAC4790-19EB-4894-9186-C8ADD46B4899}"/>
          </ac:picMkLst>
        </pc:picChg>
      </pc:sldChg>
      <pc:sldChg chg="modNotesTx">
        <pc:chgData name="Wargo, Joseph" userId="73d5fbe4-171b-4e61-a466-bb1c674c9427" providerId="ADAL" clId="{A8AB731F-7046-4B62-9CEB-54A0FFBB8D63}" dt="2022-10-27T18:54:49.528" v="101"/>
        <pc:sldMkLst>
          <pc:docMk/>
          <pc:sldMk cId="244629787" sldId="2138"/>
        </pc:sldMkLst>
      </pc:sldChg>
      <pc:sldChg chg="modNotesTx">
        <pc:chgData name="Wargo, Joseph" userId="73d5fbe4-171b-4e61-a466-bb1c674c9427" providerId="ADAL" clId="{A8AB731F-7046-4B62-9CEB-54A0FFBB8D63}" dt="2022-10-27T18:54:53.767" v="103"/>
        <pc:sldMkLst>
          <pc:docMk/>
          <pc:sldMk cId="610726245" sldId="2139"/>
        </pc:sldMkLst>
      </pc:sldChg>
      <pc:sldChg chg="modSp mod modNotesTx">
        <pc:chgData name="Wargo, Joseph" userId="73d5fbe4-171b-4e61-a466-bb1c674c9427" providerId="ADAL" clId="{A8AB731F-7046-4B62-9CEB-54A0FFBB8D63}" dt="2022-10-27T19:01:03.948" v="231" actId="20577"/>
        <pc:sldMkLst>
          <pc:docMk/>
          <pc:sldMk cId="3119844409" sldId="2143"/>
        </pc:sldMkLst>
        <pc:spChg chg="mod ord">
          <ac:chgData name="Wargo, Joseph" userId="73d5fbe4-171b-4e61-a466-bb1c674c9427" providerId="ADAL" clId="{A8AB731F-7046-4B62-9CEB-54A0FFBB8D63}" dt="2022-10-27T18:25:30.134" v="13" actId="167"/>
          <ac:spMkLst>
            <pc:docMk/>
            <pc:sldMk cId="3119844409" sldId="2143"/>
            <ac:spMk id="40" creationId="{69B3B131-4158-4BA8-AEC0-2C8B1306DEC6}"/>
          </ac:spMkLst>
        </pc:spChg>
        <pc:grpChg chg="mod">
          <ac:chgData name="Wargo, Joseph" userId="73d5fbe4-171b-4e61-a466-bb1c674c9427" providerId="ADAL" clId="{A8AB731F-7046-4B62-9CEB-54A0FFBB8D63}" dt="2022-10-27T18:25:53.328" v="17" actId="14100"/>
          <ac:grpSpMkLst>
            <pc:docMk/>
            <pc:sldMk cId="3119844409" sldId="2143"/>
            <ac:grpSpMk id="23" creationId="{B3300688-1F0C-4149-A290-B87B3FE51DC2}"/>
          </ac:grpSpMkLst>
        </pc:grpChg>
      </pc:sldChg>
      <pc:sldChg chg="ord">
        <pc:chgData name="Wargo, Joseph" userId="73d5fbe4-171b-4e61-a466-bb1c674c9427" providerId="ADAL" clId="{A8AB731F-7046-4B62-9CEB-54A0FFBB8D63}" dt="2022-10-27T18:37:46.114" v="21"/>
        <pc:sldMkLst>
          <pc:docMk/>
          <pc:sldMk cId="569897438" sldId="2144"/>
        </pc:sldMkLst>
      </pc:sldChg>
      <pc:sldChg chg="modNotesTx">
        <pc:chgData name="Wargo, Joseph" userId="73d5fbe4-171b-4e61-a466-bb1c674c9427" providerId="ADAL" clId="{A8AB731F-7046-4B62-9CEB-54A0FFBB8D63}" dt="2022-10-27T18:54:57.516" v="105"/>
        <pc:sldMkLst>
          <pc:docMk/>
          <pc:sldMk cId="1335653565" sldId="2145"/>
        </pc:sldMkLst>
      </pc:sldChg>
      <pc:sldChg chg="modNotesTx">
        <pc:chgData name="Wargo, Joseph" userId="73d5fbe4-171b-4e61-a466-bb1c674c9427" providerId="ADAL" clId="{A8AB731F-7046-4B62-9CEB-54A0FFBB8D63}" dt="2022-10-27T18:55:40.855" v="125" actId="20577"/>
        <pc:sldMkLst>
          <pc:docMk/>
          <pc:sldMk cId="605905717" sldId="2146"/>
        </pc:sldMkLst>
      </pc:sldChg>
      <pc:sldChg chg="modNotesTx">
        <pc:chgData name="Wargo, Joseph" userId="73d5fbe4-171b-4e61-a466-bb1c674c9427" providerId="ADAL" clId="{A8AB731F-7046-4B62-9CEB-54A0FFBB8D63}" dt="2022-10-27T18:59:43.337" v="154" actId="20577"/>
        <pc:sldMkLst>
          <pc:docMk/>
          <pc:sldMk cId="1904082048" sldId="2147"/>
        </pc:sldMkLst>
      </pc:sldChg>
      <pc:sldChg chg="ord modNotesTx">
        <pc:chgData name="Wargo, Joseph" userId="73d5fbe4-171b-4e61-a466-bb1c674c9427" providerId="ADAL" clId="{A8AB731F-7046-4B62-9CEB-54A0FFBB8D63}" dt="2022-10-27T18:59:29.086" v="132" actId="20577"/>
        <pc:sldMkLst>
          <pc:docMk/>
          <pc:sldMk cId="205456675" sldId="2148"/>
        </pc:sldMkLst>
      </pc:sldChg>
      <pc:sldChg chg="modNotesTx">
        <pc:chgData name="Wargo, Joseph" userId="73d5fbe4-171b-4e61-a466-bb1c674c9427" providerId="ADAL" clId="{A8AB731F-7046-4B62-9CEB-54A0FFBB8D63}" dt="2022-10-27T18:59:55.394" v="156"/>
        <pc:sldMkLst>
          <pc:docMk/>
          <pc:sldMk cId="1906708045" sldId="2149"/>
        </pc:sldMkLst>
      </pc:sldChg>
    </pc:docChg>
  </pc:docChgLst>
  <pc:docChgLst>
    <pc:chgData name="Elsaker, Sheri" userId="S::selsaker@deloitte.com::03aeeb51-71af-4ec0-ba02-b4548e55d73c" providerId="AD" clId="Web-{BBA0A5DA-00D2-4F79-AEBC-6D128579980A}"/>
    <pc:docChg chg="modSld">
      <pc:chgData name="Elsaker, Sheri" userId="S::selsaker@deloitte.com::03aeeb51-71af-4ec0-ba02-b4548e55d73c" providerId="AD" clId="Web-{BBA0A5DA-00D2-4F79-AEBC-6D128579980A}" dt="2022-10-28T13:54:26.402" v="9"/>
      <pc:docMkLst>
        <pc:docMk/>
      </pc:docMkLst>
      <pc:sldChg chg="delSp modSp">
        <pc:chgData name="Elsaker, Sheri" userId="S::selsaker@deloitte.com::03aeeb51-71af-4ec0-ba02-b4548e55d73c" providerId="AD" clId="Web-{BBA0A5DA-00D2-4F79-AEBC-6D128579980A}" dt="2022-10-28T13:54:26.402" v="9"/>
        <pc:sldMkLst>
          <pc:docMk/>
          <pc:sldMk cId="3904207690" sldId="2135"/>
        </pc:sldMkLst>
        <pc:spChg chg="del">
          <ac:chgData name="Elsaker, Sheri" userId="S::selsaker@deloitte.com::03aeeb51-71af-4ec0-ba02-b4548e55d73c" providerId="AD" clId="Web-{BBA0A5DA-00D2-4F79-AEBC-6D128579980A}" dt="2022-10-28T13:54:02.714" v="3"/>
          <ac:spMkLst>
            <pc:docMk/>
            <pc:sldMk cId="3904207690" sldId="2135"/>
            <ac:spMk id="2" creationId="{BFE4988E-EC2F-461F-833A-E7246FD43DFB}"/>
          </ac:spMkLst>
        </pc:spChg>
        <pc:spChg chg="del">
          <ac:chgData name="Elsaker, Sheri" userId="S::selsaker@deloitte.com::03aeeb51-71af-4ec0-ba02-b4548e55d73c" providerId="AD" clId="Web-{BBA0A5DA-00D2-4F79-AEBC-6D128579980A}" dt="2022-10-28T13:53:53.463" v="1"/>
          <ac:spMkLst>
            <pc:docMk/>
            <pc:sldMk cId="3904207690" sldId="2135"/>
            <ac:spMk id="3" creationId="{E75FEF0B-DB80-4291-A3F1-F5F01D29ED30}"/>
          </ac:spMkLst>
        </pc:spChg>
        <pc:spChg chg="del">
          <ac:chgData name="Elsaker, Sheri" userId="S::selsaker@deloitte.com::03aeeb51-71af-4ec0-ba02-b4548e55d73c" providerId="AD" clId="Web-{BBA0A5DA-00D2-4F79-AEBC-6D128579980A}" dt="2022-10-28T13:54:13.542" v="5"/>
          <ac:spMkLst>
            <pc:docMk/>
            <pc:sldMk cId="3904207690" sldId="2135"/>
            <ac:spMk id="13" creationId="{F8F5BCF5-7BC3-4AC1-8F0A-802F42F0A6BF}"/>
          </ac:spMkLst>
        </pc:spChg>
        <pc:spChg chg="del">
          <ac:chgData name="Elsaker, Sheri" userId="S::selsaker@deloitte.com::03aeeb51-71af-4ec0-ba02-b4548e55d73c" providerId="AD" clId="Web-{BBA0A5DA-00D2-4F79-AEBC-6D128579980A}" dt="2022-10-28T13:54:24.293" v="8"/>
          <ac:spMkLst>
            <pc:docMk/>
            <pc:sldMk cId="3904207690" sldId="2135"/>
            <ac:spMk id="14" creationId="{820ADE9D-1B99-4427-BA6B-BD73448635BD}"/>
          </ac:spMkLst>
        </pc:spChg>
        <pc:picChg chg="del">
          <ac:chgData name="Elsaker, Sheri" userId="S::selsaker@deloitte.com::03aeeb51-71af-4ec0-ba02-b4548e55d73c" providerId="AD" clId="Web-{BBA0A5DA-00D2-4F79-AEBC-6D128579980A}" dt="2022-10-28T13:54:16.011" v="6"/>
          <ac:picMkLst>
            <pc:docMk/>
            <pc:sldMk cId="3904207690" sldId="2135"/>
            <ac:picMk id="10" creationId="{0911E445-D1A2-4FEB-8671-C4988D04BA32}"/>
          </ac:picMkLst>
        </pc:picChg>
        <pc:picChg chg="del">
          <ac:chgData name="Elsaker, Sheri" userId="S::selsaker@deloitte.com::03aeeb51-71af-4ec0-ba02-b4548e55d73c" providerId="AD" clId="Web-{BBA0A5DA-00D2-4F79-AEBC-6D128579980A}" dt="2022-10-28T13:54:26.402" v="9"/>
          <ac:picMkLst>
            <pc:docMk/>
            <pc:sldMk cId="3904207690" sldId="2135"/>
            <ac:picMk id="11" creationId="{1A7C79FC-965F-4C6F-8C54-ED57B2CD022F}"/>
          </ac:picMkLst>
        </pc:picChg>
        <pc:picChg chg="ord">
          <ac:chgData name="Elsaker, Sheri" userId="S::selsaker@deloitte.com::03aeeb51-71af-4ec0-ba02-b4548e55d73c" providerId="AD" clId="Web-{BBA0A5DA-00D2-4F79-AEBC-6D128579980A}" dt="2022-10-28T13:53:49.276" v="0"/>
          <ac:picMkLst>
            <pc:docMk/>
            <pc:sldMk cId="3904207690" sldId="2135"/>
            <ac:picMk id="15" creationId="{18F3721F-113E-C6D7-32D2-BA3E61CF5333}"/>
          </ac:picMkLst>
        </pc:picChg>
        <pc:picChg chg="ord">
          <ac:chgData name="Elsaker, Sheri" userId="S::selsaker@deloitte.com::03aeeb51-71af-4ec0-ba02-b4548e55d73c" providerId="AD" clId="Web-{BBA0A5DA-00D2-4F79-AEBC-6D128579980A}" dt="2022-10-28T13:54:10.823" v="4"/>
          <ac:picMkLst>
            <pc:docMk/>
            <pc:sldMk cId="3904207690" sldId="2135"/>
            <ac:picMk id="1026" creationId="{63B9FEEF-683E-483E-9444-0A6C83D47E8C}"/>
          </ac:picMkLst>
        </pc:picChg>
        <pc:picChg chg="ord">
          <ac:chgData name="Elsaker, Sheri" userId="S::selsaker@deloitte.com::03aeeb51-71af-4ec0-ba02-b4548e55d73c" providerId="AD" clId="Web-{BBA0A5DA-00D2-4F79-AEBC-6D128579980A}" dt="2022-10-28T13:54:22.199" v="7"/>
          <ac:picMkLst>
            <pc:docMk/>
            <pc:sldMk cId="3904207690" sldId="2135"/>
            <ac:picMk id="1028" creationId="{9669BF1C-2A4F-4ACC-AE8E-816F24A6CB04}"/>
          </ac:picMkLst>
        </pc:picChg>
        <pc:picChg chg="ord">
          <ac:chgData name="Elsaker, Sheri" userId="S::selsaker@deloitte.com::03aeeb51-71af-4ec0-ba02-b4548e55d73c" providerId="AD" clId="Web-{BBA0A5DA-00D2-4F79-AEBC-6D128579980A}" dt="2022-10-28T13:53:59.886" v="2"/>
          <ac:picMkLst>
            <pc:docMk/>
            <pc:sldMk cId="3904207690" sldId="2135"/>
            <ac:picMk id="1030" creationId="{F7656DE5-6AFB-4852-8F56-AF480A723C86}"/>
          </ac:picMkLst>
        </pc:picChg>
      </pc:sldChg>
    </pc:docChg>
  </pc:docChgLst>
  <pc:docChgLst>
    <pc:chgData name="Helson, Madelyn" userId="b8387ea0-a4af-45e1-9747-7dabd6c5d9bc" providerId="ADAL" clId="{29F4B563-EADC-4859-8E21-6513DD83A3EB}"/>
    <pc:docChg chg="undo custSel addSld delSld modSld sldOrd addMainMaster delMainMaster">
      <pc:chgData name="Helson, Madelyn" userId="b8387ea0-a4af-45e1-9747-7dabd6c5d9bc" providerId="ADAL" clId="{29F4B563-EADC-4859-8E21-6513DD83A3EB}" dt="2022-10-28T16:32:31.883" v="11994" actId="47"/>
      <pc:docMkLst>
        <pc:docMk/>
      </pc:docMkLst>
      <pc:sldChg chg="del">
        <pc:chgData name="Helson, Madelyn" userId="b8387ea0-a4af-45e1-9747-7dabd6c5d9bc" providerId="ADAL" clId="{29F4B563-EADC-4859-8E21-6513DD83A3EB}" dt="2022-10-28T16:32:25.852" v="11992" actId="47"/>
        <pc:sldMkLst>
          <pc:docMk/>
          <pc:sldMk cId="2600026302" sldId="257"/>
        </pc:sldMkLst>
      </pc:sldChg>
      <pc:sldChg chg="del">
        <pc:chgData name="Helson, Madelyn" userId="b8387ea0-a4af-45e1-9747-7dabd6c5d9bc" providerId="ADAL" clId="{29F4B563-EADC-4859-8E21-6513DD83A3EB}" dt="2022-10-28T16:31:15.034" v="11970" actId="47"/>
        <pc:sldMkLst>
          <pc:docMk/>
          <pc:sldMk cId="496745728" sldId="460"/>
        </pc:sldMkLst>
      </pc:sldChg>
      <pc:sldChg chg="del">
        <pc:chgData name="Helson, Madelyn" userId="b8387ea0-a4af-45e1-9747-7dabd6c5d9bc" providerId="ADAL" clId="{29F4B563-EADC-4859-8E21-6513DD83A3EB}" dt="2022-10-28T16:31:13.775" v="11968" actId="47"/>
        <pc:sldMkLst>
          <pc:docMk/>
          <pc:sldMk cId="903271488" sldId="668"/>
        </pc:sldMkLst>
      </pc:sldChg>
      <pc:sldChg chg="addSp modSp mod modNotesTx">
        <pc:chgData name="Helson, Madelyn" userId="b8387ea0-a4af-45e1-9747-7dabd6c5d9bc" providerId="ADAL" clId="{29F4B563-EADC-4859-8E21-6513DD83A3EB}" dt="2022-10-28T15:47:25.687" v="11960" actId="1076"/>
        <pc:sldMkLst>
          <pc:docMk/>
          <pc:sldMk cId="3767364715" sldId="698"/>
        </pc:sldMkLst>
        <pc:spChg chg="mod">
          <ac:chgData name="Helson, Madelyn" userId="b8387ea0-a4af-45e1-9747-7dabd6c5d9bc" providerId="ADAL" clId="{29F4B563-EADC-4859-8E21-6513DD83A3EB}" dt="2022-10-27T17:36:21.220" v="4090" actId="20577"/>
          <ac:spMkLst>
            <pc:docMk/>
            <pc:sldMk cId="3767364715" sldId="698"/>
            <ac:spMk id="3" creationId="{00000000-0000-0000-0000-000000000000}"/>
          </ac:spMkLst>
        </pc:spChg>
        <pc:spChg chg="add mod">
          <ac:chgData name="Helson, Madelyn" userId="b8387ea0-a4af-45e1-9747-7dabd6c5d9bc" providerId="ADAL" clId="{29F4B563-EADC-4859-8E21-6513DD83A3EB}" dt="2022-10-28T15:47:16.376" v="11958" actId="207"/>
          <ac:spMkLst>
            <pc:docMk/>
            <pc:sldMk cId="3767364715" sldId="698"/>
            <ac:spMk id="4" creationId="{386F1218-6721-4A90-A4CE-5DD4FB879304}"/>
          </ac:spMkLst>
        </pc:spChg>
        <pc:spChg chg="mod">
          <ac:chgData name="Helson, Madelyn" userId="b8387ea0-a4af-45e1-9747-7dabd6c5d9bc" providerId="ADAL" clId="{29F4B563-EADC-4859-8E21-6513DD83A3EB}" dt="2022-10-28T13:52:07.577" v="10370" actId="20577"/>
          <ac:spMkLst>
            <pc:docMk/>
            <pc:sldMk cId="3767364715" sldId="698"/>
            <ac:spMk id="16" creationId="{CDDA684C-0673-4188-A7F3-4B07A908F3B3}"/>
          </ac:spMkLst>
        </pc:spChg>
        <pc:spChg chg="mod">
          <ac:chgData name="Helson, Madelyn" userId="b8387ea0-a4af-45e1-9747-7dabd6c5d9bc" providerId="ADAL" clId="{29F4B563-EADC-4859-8E21-6513DD83A3EB}" dt="2022-10-27T17:37:33.449" v="4119" actId="20577"/>
          <ac:spMkLst>
            <pc:docMk/>
            <pc:sldMk cId="3767364715" sldId="698"/>
            <ac:spMk id="20" creationId="{3E20F7E9-28C0-41D7-8BB7-113356CF8A3B}"/>
          </ac:spMkLst>
        </pc:spChg>
        <pc:spChg chg="mod">
          <ac:chgData name="Helson, Madelyn" userId="b8387ea0-a4af-45e1-9747-7dabd6c5d9bc" providerId="ADAL" clId="{29F4B563-EADC-4859-8E21-6513DD83A3EB}" dt="2022-10-28T13:34:15.078" v="9817" actId="20577"/>
          <ac:spMkLst>
            <pc:docMk/>
            <pc:sldMk cId="3767364715" sldId="698"/>
            <ac:spMk id="21" creationId="{2E5D1B92-6020-4252-867C-E14F29FF15DE}"/>
          </ac:spMkLst>
        </pc:spChg>
        <pc:spChg chg="add mod">
          <ac:chgData name="Helson, Madelyn" userId="b8387ea0-a4af-45e1-9747-7dabd6c5d9bc" providerId="ADAL" clId="{29F4B563-EADC-4859-8E21-6513DD83A3EB}" dt="2022-10-28T15:47:25.687" v="11960" actId="1076"/>
          <ac:spMkLst>
            <pc:docMk/>
            <pc:sldMk cId="3767364715" sldId="698"/>
            <ac:spMk id="23" creationId="{08F8F90B-3FF2-4A31-9800-7D1A96B466F3}"/>
          </ac:spMkLst>
        </pc:spChg>
        <pc:spChg chg="mod">
          <ac:chgData name="Helson, Madelyn" userId="b8387ea0-a4af-45e1-9747-7dabd6c5d9bc" providerId="ADAL" clId="{29F4B563-EADC-4859-8E21-6513DD83A3EB}" dt="2022-10-27T18:10:03.970" v="5630" actId="20577"/>
          <ac:spMkLst>
            <pc:docMk/>
            <pc:sldMk cId="3767364715" sldId="698"/>
            <ac:spMk id="50" creationId="{00000000-0000-0000-0000-000000000000}"/>
          </ac:spMkLst>
        </pc:spChg>
        <pc:spChg chg="mod">
          <ac:chgData name="Helson, Madelyn" userId="b8387ea0-a4af-45e1-9747-7dabd6c5d9bc" providerId="ADAL" clId="{29F4B563-EADC-4859-8E21-6513DD83A3EB}" dt="2022-10-27T17:38:35.967" v="4151" actId="20577"/>
          <ac:spMkLst>
            <pc:docMk/>
            <pc:sldMk cId="3767364715" sldId="698"/>
            <ac:spMk id="65" creationId="{00000000-0000-0000-0000-000000000000}"/>
          </ac:spMkLst>
        </pc:spChg>
        <pc:spChg chg="mod">
          <ac:chgData name="Helson, Madelyn" userId="b8387ea0-a4af-45e1-9747-7dabd6c5d9bc" providerId="ADAL" clId="{29F4B563-EADC-4859-8E21-6513DD83A3EB}" dt="2022-10-28T13:33:33.782" v="9776" actId="20577"/>
          <ac:spMkLst>
            <pc:docMk/>
            <pc:sldMk cId="3767364715" sldId="698"/>
            <ac:spMk id="69" creationId="{00000000-0000-0000-0000-000000000000}"/>
          </ac:spMkLst>
        </pc:spChg>
      </pc:sldChg>
      <pc:sldChg chg="addSp modSp mod ord modNotesTx">
        <pc:chgData name="Helson, Madelyn" userId="b8387ea0-a4af-45e1-9747-7dabd6c5d9bc" providerId="ADAL" clId="{29F4B563-EADC-4859-8E21-6513DD83A3EB}" dt="2022-10-28T15:47:51.832" v="11963" actId="1076"/>
        <pc:sldMkLst>
          <pc:docMk/>
          <pc:sldMk cId="3032595839" sldId="831"/>
        </pc:sldMkLst>
        <pc:spChg chg="add mod">
          <ac:chgData name="Helson, Madelyn" userId="b8387ea0-a4af-45e1-9747-7dabd6c5d9bc" providerId="ADAL" clId="{29F4B563-EADC-4859-8E21-6513DD83A3EB}" dt="2022-10-28T15:47:43.449" v="11961"/>
          <ac:spMkLst>
            <pc:docMk/>
            <pc:sldMk cId="3032595839" sldId="831"/>
            <ac:spMk id="46" creationId="{49ECBE8D-3070-4CB0-A23A-035216E64CB3}"/>
          </ac:spMkLst>
        </pc:spChg>
        <pc:spChg chg="add mod">
          <ac:chgData name="Helson, Madelyn" userId="b8387ea0-a4af-45e1-9747-7dabd6c5d9bc" providerId="ADAL" clId="{29F4B563-EADC-4859-8E21-6513DD83A3EB}" dt="2022-10-28T15:47:51.832" v="11963" actId="1076"/>
          <ac:spMkLst>
            <pc:docMk/>
            <pc:sldMk cId="3032595839" sldId="831"/>
            <ac:spMk id="54" creationId="{73CE6264-0937-4D80-B9E0-CBD39FF270B4}"/>
          </ac:spMkLst>
        </pc:spChg>
        <pc:spChg chg="mod">
          <ac:chgData name="Helson, Madelyn" userId="b8387ea0-a4af-45e1-9747-7dabd6c5d9bc" providerId="ADAL" clId="{29F4B563-EADC-4859-8E21-6513DD83A3EB}" dt="2022-10-28T15:46:43.050" v="11954" actId="113"/>
          <ac:spMkLst>
            <pc:docMk/>
            <pc:sldMk cId="3032595839" sldId="831"/>
            <ac:spMk id="62" creationId="{DFD03AD1-0F3D-4D45-BD2F-C29D0AF29E24}"/>
          </ac:spMkLst>
        </pc:spChg>
        <pc:spChg chg="mod">
          <ac:chgData name="Helson, Madelyn" userId="b8387ea0-a4af-45e1-9747-7dabd6c5d9bc" providerId="ADAL" clId="{29F4B563-EADC-4859-8E21-6513DD83A3EB}" dt="2022-10-28T15:46:49.942" v="11956" actId="207"/>
          <ac:spMkLst>
            <pc:docMk/>
            <pc:sldMk cId="3032595839" sldId="831"/>
            <ac:spMk id="63" creationId="{DDCACBEB-8893-47DF-8419-345DE0419C83}"/>
          </ac:spMkLst>
        </pc:spChg>
        <pc:spChg chg="mod">
          <ac:chgData name="Helson, Madelyn" userId="b8387ea0-a4af-45e1-9747-7dabd6c5d9bc" providerId="ADAL" clId="{29F4B563-EADC-4859-8E21-6513DD83A3EB}" dt="2022-10-28T15:46:33.926" v="11952" actId="108"/>
          <ac:spMkLst>
            <pc:docMk/>
            <pc:sldMk cId="3032595839" sldId="831"/>
            <ac:spMk id="64" creationId="{EBFADAB6-3AFC-4CC8-B7D9-B6FE32699052}"/>
          </ac:spMkLst>
        </pc:spChg>
        <pc:spChg chg="mod">
          <ac:chgData name="Helson, Madelyn" userId="b8387ea0-a4af-45e1-9747-7dabd6c5d9bc" providerId="ADAL" clId="{29F4B563-EADC-4859-8E21-6513DD83A3EB}" dt="2022-10-28T15:46:10.006" v="11946" actId="113"/>
          <ac:spMkLst>
            <pc:docMk/>
            <pc:sldMk cId="3032595839" sldId="831"/>
            <ac:spMk id="70" creationId="{00000000-0000-0000-0000-000000000000}"/>
          </ac:spMkLst>
        </pc:spChg>
        <pc:spChg chg="mod">
          <ac:chgData name="Helson, Madelyn" userId="b8387ea0-a4af-45e1-9747-7dabd6c5d9bc" providerId="ADAL" clId="{29F4B563-EADC-4859-8E21-6513DD83A3EB}" dt="2022-10-28T15:46:16.911" v="11948" actId="113"/>
          <ac:spMkLst>
            <pc:docMk/>
            <pc:sldMk cId="3032595839" sldId="831"/>
            <ac:spMk id="71" creationId="{00000000-0000-0000-0000-000000000000}"/>
          </ac:spMkLst>
        </pc:spChg>
        <pc:spChg chg="mod">
          <ac:chgData name="Helson, Madelyn" userId="b8387ea0-a4af-45e1-9747-7dabd6c5d9bc" providerId="ADAL" clId="{29F4B563-EADC-4859-8E21-6513DD83A3EB}" dt="2022-10-28T15:46:04.093" v="11944" actId="207"/>
          <ac:spMkLst>
            <pc:docMk/>
            <pc:sldMk cId="3032595839" sldId="831"/>
            <ac:spMk id="75" creationId="{00000000-0000-0000-0000-000000000000}"/>
          </ac:spMkLst>
        </pc:spChg>
        <pc:spChg chg="mod">
          <ac:chgData name="Helson, Madelyn" userId="b8387ea0-a4af-45e1-9747-7dabd6c5d9bc" providerId="ADAL" clId="{29F4B563-EADC-4859-8E21-6513DD83A3EB}" dt="2022-10-28T15:46:20.262" v="11949" actId="108"/>
          <ac:spMkLst>
            <pc:docMk/>
            <pc:sldMk cId="3032595839" sldId="831"/>
            <ac:spMk id="76" creationId="{00000000-0000-0000-0000-000000000000}"/>
          </ac:spMkLst>
        </pc:spChg>
        <pc:spChg chg="mod">
          <ac:chgData name="Helson, Madelyn" userId="b8387ea0-a4af-45e1-9747-7dabd6c5d9bc" providerId="ADAL" clId="{29F4B563-EADC-4859-8E21-6513DD83A3EB}" dt="2022-10-28T15:46:27.118" v="11951" actId="113"/>
          <ac:spMkLst>
            <pc:docMk/>
            <pc:sldMk cId="3032595839" sldId="831"/>
            <ac:spMk id="77" creationId="{00000000-0000-0000-0000-000000000000}"/>
          </ac:spMkLst>
        </pc:spChg>
      </pc:sldChg>
      <pc:sldChg chg="add del">
        <pc:chgData name="Helson, Madelyn" userId="b8387ea0-a4af-45e1-9747-7dabd6c5d9bc" providerId="ADAL" clId="{29F4B563-EADC-4859-8E21-6513DD83A3EB}" dt="2022-10-28T16:32:29.333" v="11993" actId="47"/>
        <pc:sldMkLst>
          <pc:docMk/>
          <pc:sldMk cId="1867776749" sldId="1051"/>
        </pc:sldMkLst>
      </pc:sldChg>
      <pc:sldChg chg="addSp delSp modSp mod ord modNotesTx">
        <pc:chgData name="Helson, Madelyn" userId="b8387ea0-a4af-45e1-9747-7dabd6c5d9bc" providerId="ADAL" clId="{29F4B563-EADC-4859-8E21-6513DD83A3EB}" dt="2022-10-28T15:43:44.934" v="11937" actId="20577"/>
        <pc:sldMkLst>
          <pc:docMk/>
          <pc:sldMk cId="4092582005" sldId="1111"/>
        </pc:sldMkLst>
        <pc:spChg chg="add mod">
          <ac:chgData name="Helson, Madelyn" userId="b8387ea0-a4af-45e1-9747-7dabd6c5d9bc" providerId="ADAL" clId="{29F4B563-EADC-4859-8E21-6513DD83A3EB}" dt="2022-10-28T15:43:16.660" v="11932" actId="6549"/>
          <ac:spMkLst>
            <pc:docMk/>
            <pc:sldMk cId="4092582005" sldId="1111"/>
            <ac:spMk id="23" creationId="{AF03062A-1C52-40E5-8A13-B103454F7209}"/>
          </ac:spMkLst>
        </pc:spChg>
        <pc:spChg chg="add mod">
          <ac:chgData name="Helson, Madelyn" userId="b8387ea0-a4af-45e1-9747-7dabd6c5d9bc" providerId="ADAL" clId="{29F4B563-EADC-4859-8E21-6513DD83A3EB}" dt="2022-10-28T15:43:44.934" v="11937" actId="20577"/>
          <ac:spMkLst>
            <pc:docMk/>
            <pc:sldMk cId="4092582005" sldId="1111"/>
            <ac:spMk id="24" creationId="{43C3680B-7FAA-4042-B2A5-2F4E87D38022}"/>
          </ac:spMkLst>
        </pc:spChg>
        <pc:spChg chg="mod">
          <ac:chgData name="Helson, Madelyn" userId="b8387ea0-a4af-45e1-9747-7dabd6c5d9bc" providerId="ADAL" clId="{29F4B563-EADC-4859-8E21-6513DD83A3EB}" dt="2022-10-28T13:43:42.893" v="9975" actId="20577"/>
          <ac:spMkLst>
            <pc:docMk/>
            <pc:sldMk cId="4092582005" sldId="1111"/>
            <ac:spMk id="37" creationId="{4E5B019D-6BC1-4570-9FB3-D8F79C703418}"/>
          </ac:spMkLst>
        </pc:spChg>
        <pc:spChg chg="mod">
          <ac:chgData name="Helson, Madelyn" userId="b8387ea0-a4af-45e1-9747-7dabd6c5d9bc" providerId="ADAL" clId="{29F4B563-EADC-4859-8E21-6513DD83A3EB}" dt="2022-10-28T13:54:06.871" v="10380" actId="1076"/>
          <ac:spMkLst>
            <pc:docMk/>
            <pc:sldMk cId="4092582005" sldId="1111"/>
            <ac:spMk id="38" creationId="{EEAA6AD0-46E1-4E03-897D-991B591A3AD5}"/>
          </ac:spMkLst>
        </pc:spChg>
        <pc:spChg chg="mod">
          <ac:chgData name="Helson, Madelyn" userId="b8387ea0-a4af-45e1-9747-7dabd6c5d9bc" providerId="ADAL" clId="{29F4B563-EADC-4859-8E21-6513DD83A3EB}" dt="2022-10-28T14:11:31.583" v="10534" actId="1076"/>
          <ac:spMkLst>
            <pc:docMk/>
            <pc:sldMk cId="4092582005" sldId="1111"/>
            <ac:spMk id="56" creationId="{E4673061-0DCC-FF44-BC15-36499893F6A3}"/>
          </ac:spMkLst>
        </pc:spChg>
        <pc:spChg chg="del mod">
          <ac:chgData name="Helson, Madelyn" userId="b8387ea0-a4af-45e1-9747-7dabd6c5d9bc" providerId="ADAL" clId="{29F4B563-EADC-4859-8E21-6513DD83A3EB}" dt="2022-10-28T13:50:18.471" v="10281" actId="478"/>
          <ac:spMkLst>
            <pc:docMk/>
            <pc:sldMk cId="4092582005" sldId="1111"/>
            <ac:spMk id="57" creationId="{47666E0F-CA29-684F-983B-621C31E3536E}"/>
          </ac:spMkLst>
        </pc:spChg>
        <pc:spChg chg="del">
          <ac:chgData name="Helson, Madelyn" userId="b8387ea0-a4af-45e1-9747-7dabd6c5d9bc" providerId="ADAL" clId="{29F4B563-EADC-4859-8E21-6513DD83A3EB}" dt="2022-10-28T13:49:00.024" v="10228" actId="478"/>
          <ac:spMkLst>
            <pc:docMk/>
            <pc:sldMk cId="4092582005" sldId="1111"/>
            <ac:spMk id="58" creationId="{4CB3C754-9E33-3842-974C-E961090B698A}"/>
          </ac:spMkLst>
        </pc:spChg>
        <pc:spChg chg="mod">
          <ac:chgData name="Helson, Madelyn" userId="b8387ea0-a4af-45e1-9747-7dabd6c5d9bc" providerId="ADAL" clId="{29F4B563-EADC-4859-8E21-6513DD83A3EB}" dt="2022-10-28T15:43:11.408" v="11931" actId="20577"/>
          <ac:spMkLst>
            <pc:docMk/>
            <pc:sldMk cId="4092582005" sldId="1111"/>
            <ac:spMk id="59" creationId="{45623FCC-20B3-8A49-81D9-8CFFBCC3285E}"/>
          </ac:spMkLst>
        </pc:spChg>
        <pc:spChg chg="mod">
          <ac:chgData name="Helson, Madelyn" userId="b8387ea0-a4af-45e1-9747-7dabd6c5d9bc" providerId="ADAL" clId="{29F4B563-EADC-4859-8E21-6513DD83A3EB}" dt="2022-10-28T13:54:20.073" v="10381" actId="207"/>
          <ac:spMkLst>
            <pc:docMk/>
            <pc:sldMk cId="4092582005" sldId="1111"/>
            <ac:spMk id="60" creationId="{A1C407FC-F4C0-B945-B923-2B7D11AF6D5A}"/>
          </ac:spMkLst>
        </pc:spChg>
        <pc:spChg chg="mod">
          <ac:chgData name="Helson, Madelyn" userId="b8387ea0-a4af-45e1-9747-7dabd6c5d9bc" providerId="ADAL" clId="{29F4B563-EADC-4859-8E21-6513DD83A3EB}" dt="2022-10-28T14:23:06.303" v="10869" actId="208"/>
          <ac:spMkLst>
            <pc:docMk/>
            <pc:sldMk cId="4092582005" sldId="1111"/>
            <ac:spMk id="63" creationId="{50BE4C6A-4A6E-9644-8765-2C5D9F52F1F7}"/>
          </ac:spMkLst>
        </pc:spChg>
        <pc:spChg chg="mod">
          <ac:chgData name="Helson, Madelyn" userId="b8387ea0-a4af-45e1-9747-7dabd6c5d9bc" providerId="ADAL" clId="{29F4B563-EADC-4859-8E21-6513DD83A3EB}" dt="2022-10-28T13:53:43.573" v="10377" actId="208"/>
          <ac:spMkLst>
            <pc:docMk/>
            <pc:sldMk cId="4092582005" sldId="1111"/>
            <ac:spMk id="66" creationId="{A9ABCEEE-3266-C441-9FEB-35E4FAA9575F}"/>
          </ac:spMkLst>
        </pc:spChg>
        <pc:spChg chg="mod">
          <ac:chgData name="Helson, Madelyn" userId="b8387ea0-a4af-45e1-9747-7dabd6c5d9bc" providerId="ADAL" clId="{29F4B563-EADC-4859-8E21-6513DD83A3EB}" dt="2022-10-28T14:11:42.520" v="10542" actId="20577"/>
          <ac:spMkLst>
            <pc:docMk/>
            <pc:sldMk cId="4092582005" sldId="1111"/>
            <ac:spMk id="69" creationId="{17F6E4FF-ED83-734F-960B-58D5D280E47C}"/>
          </ac:spMkLst>
        </pc:spChg>
        <pc:spChg chg="mod">
          <ac:chgData name="Helson, Madelyn" userId="b8387ea0-a4af-45e1-9747-7dabd6c5d9bc" providerId="ADAL" clId="{29F4B563-EADC-4859-8E21-6513DD83A3EB}" dt="2022-10-28T14:11:55.174" v="10554" actId="1076"/>
          <ac:spMkLst>
            <pc:docMk/>
            <pc:sldMk cId="4092582005" sldId="1111"/>
            <ac:spMk id="70" creationId="{9CBB027C-82D5-804B-863B-B3A06C16DA62}"/>
          </ac:spMkLst>
        </pc:spChg>
        <pc:spChg chg="mod">
          <ac:chgData name="Helson, Madelyn" userId="b8387ea0-a4af-45e1-9747-7dabd6c5d9bc" providerId="ADAL" clId="{29F4B563-EADC-4859-8E21-6513DD83A3EB}" dt="2022-10-28T13:54:27.279" v="10382" actId="207"/>
          <ac:spMkLst>
            <pc:docMk/>
            <pc:sldMk cId="4092582005" sldId="1111"/>
            <ac:spMk id="72" creationId="{FD03E786-8874-3D40-A781-5CED8D9EAF21}"/>
          </ac:spMkLst>
        </pc:spChg>
        <pc:cxnChg chg="mod">
          <ac:chgData name="Helson, Madelyn" userId="b8387ea0-a4af-45e1-9747-7dabd6c5d9bc" providerId="ADAL" clId="{29F4B563-EADC-4859-8E21-6513DD83A3EB}" dt="2022-10-28T13:44:11.755" v="9976" actId="1076"/>
          <ac:cxnSpMkLst>
            <pc:docMk/>
            <pc:sldMk cId="4092582005" sldId="1111"/>
            <ac:cxnSpMk id="75" creationId="{D11C47E3-DCF6-BB42-872A-F154F912F2B7}"/>
          </ac:cxnSpMkLst>
        </pc:cxnChg>
      </pc:sldChg>
      <pc:sldChg chg="modSp mod modNotesTx">
        <pc:chgData name="Helson, Madelyn" userId="b8387ea0-a4af-45e1-9747-7dabd6c5d9bc" providerId="ADAL" clId="{29F4B563-EADC-4859-8E21-6513DD83A3EB}" dt="2022-10-28T14:40:58.175" v="11175" actId="20577"/>
        <pc:sldMkLst>
          <pc:docMk/>
          <pc:sldMk cId="3041223616" sldId="1791"/>
        </pc:sldMkLst>
        <pc:spChg chg="mod">
          <ac:chgData name="Helson, Madelyn" userId="b8387ea0-a4af-45e1-9747-7dabd6c5d9bc" providerId="ADAL" clId="{29F4B563-EADC-4859-8E21-6513DD83A3EB}" dt="2022-10-28T14:40:58.175" v="11175" actId="20577"/>
          <ac:spMkLst>
            <pc:docMk/>
            <pc:sldMk cId="3041223616" sldId="1791"/>
            <ac:spMk id="12" creationId="{C2F03B24-5911-487D-A541-83315BB92292}"/>
          </ac:spMkLst>
        </pc:spChg>
      </pc:sldChg>
      <pc:sldChg chg="del">
        <pc:chgData name="Helson, Madelyn" userId="b8387ea0-a4af-45e1-9747-7dabd6c5d9bc" providerId="ADAL" clId="{29F4B563-EADC-4859-8E21-6513DD83A3EB}" dt="2022-10-28T16:31:16.167" v="11972" actId="47"/>
        <pc:sldMkLst>
          <pc:docMk/>
          <pc:sldMk cId="1055701688" sldId="1792"/>
        </pc:sldMkLst>
      </pc:sldChg>
      <pc:sldChg chg="del">
        <pc:chgData name="Helson, Madelyn" userId="b8387ea0-a4af-45e1-9747-7dabd6c5d9bc" providerId="ADAL" clId="{29F4B563-EADC-4859-8E21-6513DD83A3EB}" dt="2022-10-28T16:31:13.201" v="11967" actId="47"/>
        <pc:sldMkLst>
          <pc:docMk/>
          <pc:sldMk cId="3623613034" sldId="1793"/>
        </pc:sldMkLst>
      </pc:sldChg>
      <pc:sldChg chg="add del">
        <pc:chgData name="Helson, Madelyn" userId="b8387ea0-a4af-45e1-9747-7dabd6c5d9bc" providerId="ADAL" clId="{29F4B563-EADC-4859-8E21-6513DD83A3EB}" dt="2022-10-28T16:32:31.883" v="11994" actId="47"/>
        <pc:sldMkLst>
          <pc:docMk/>
          <pc:sldMk cId="1258302308" sldId="1794"/>
        </pc:sldMkLst>
      </pc:sldChg>
      <pc:sldChg chg="add del">
        <pc:chgData name="Helson, Madelyn" userId="b8387ea0-a4af-45e1-9747-7dabd6c5d9bc" providerId="ADAL" clId="{29F4B563-EADC-4859-8E21-6513DD83A3EB}" dt="2022-10-28T16:32:23.342" v="11991" actId="47"/>
        <pc:sldMkLst>
          <pc:docMk/>
          <pc:sldMk cId="4246610799" sldId="2134"/>
        </pc:sldMkLst>
      </pc:sldChg>
      <pc:sldChg chg="modSp mod modNotesTx">
        <pc:chgData name="Helson, Madelyn" userId="b8387ea0-a4af-45e1-9747-7dabd6c5d9bc" providerId="ADAL" clId="{29F4B563-EADC-4859-8E21-6513DD83A3EB}" dt="2022-10-28T15:24:02.154" v="11627" actId="20577"/>
        <pc:sldMkLst>
          <pc:docMk/>
          <pc:sldMk cId="3904207690" sldId="2135"/>
        </pc:sldMkLst>
        <pc:spChg chg="mod">
          <ac:chgData name="Helson, Madelyn" userId="b8387ea0-a4af-45e1-9747-7dabd6c5d9bc" providerId="ADAL" clId="{29F4B563-EADC-4859-8E21-6513DD83A3EB}" dt="2022-10-28T12:40:11.191" v="8864" actId="20577"/>
          <ac:spMkLst>
            <pc:docMk/>
            <pc:sldMk cId="3904207690" sldId="2135"/>
            <ac:spMk id="6" creationId="{70B155E1-97D1-40DC-953B-53A472054E58}"/>
          </ac:spMkLst>
        </pc:spChg>
        <pc:spChg chg="mod">
          <ac:chgData name="Helson, Madelyn" userId="b8387ea0-a4af-45e1-9747-7dabd6c5d9bc" providerId="ADAL" clId="{29F4B563-EADC-4859-8E21-6513DD83A3EB}" dt="2022-10-28T15:24:02.154" v="11627" actId="20577"/>
          <ac:spMkLst>
            <pc:docMk/>
            <pc:sldMk cId="3904207690" sldId="2135"/>
            <ac:spMk id="8" creationId="{920A127D-2720-4AB3-A987-25869DCE7B9E}"/>
          </ac:spMkLst>
        </pc:spChg>
        <pc:spChg chg="mod">
          <ac:chgData name="Helson, Madelyn" userId="b8387ea0-a4af-45e1-9747-7dabd6c5d9bc" providerId="ADAL" clId="{29F4B563-EADC-4859-8E21-6513DD83A3EB}" dt="2022-10-27T18:27:40.373" v="5774" actId="20577"/>
          <ac:spMkLst>
            <pc:docMk/>
            <pc:sldMk cId="3904207690" sldId="2135"/>
            <ac:spMk id="9" creationId="{F9D79797-7CFA-41D1-8926-C8DE6AECF515}"/>
          </ac:spMkLst>
        </pc:spChg>
        <pc:spChg chg="mod">
          <ac:chgData name="Helson, Madelyn" userId="b8387ea0-a4af-45e1-9747-7dabd6c5d9bc" providerId="ADAL" clId="{29F4B563-EADC-4859-8E21-6513DD83A3EB}" dt="2022-10-28T15:23:48.716" v="11616" actId="20577"/>
          <ac:spMkLst>
            <pc:docMk/>
            <pc:sldMk cId="3904207690" sldId="2135"/>
            <ac:spMk id="12" creationId="{97F7505A-D6DF-4457-906E-34A49550126C}"/>
          </ac:spMkLst>
        </pc:spChg>
      </pc:sldChg>
      <pc:sldChg chg="modNotesTx">
        <pc:chgData name="Helson, Madelyn" userId="b8387ea0-a4af-45e1-9747-7dabd6c5d9bc" providerId="ADAL" clId="{29F4B563-EADC-4859-8E21-6513DD83A3EB}" dt="2022-10-27T21:21:58.361" v="6481" actId="20577"/>
        <pc:sldMkLst>
          <pc:docMk/>
          <pc:sldMk cId="1519144107" sldId="2136"/>
        </pc:sldMkLst>
      </pc:sldChg>
      <pc:sldChg chg="del">
        <pc:chgData name="Helson, Madelyn" userId="b8387ea0-a4af-45e1-9747-7dabd6c5d9bc" providerId="ADAL" clId="{29F4B563-EADC-4859-8E21-6513DD83A3EB}" dt="2022-10-28T16:31:14.297" v="11969" actId="47"/>
        <pc:sldMkLst>
          <pc:docMk/>
          <pc:sldMk cId="1117554841" sldId="2137"/>
        </pc:sldMkLst>
      </pc:sldChg>
      <pc:sldChg chg="addSp delSp modSp mod ord modNotesTx">
        <pc:chgData name="Helson, Madelyn" userId="b8387ea0-a4af-45e1-9747-7dabd6c5d9bc" providerId="ADAL" clId="{29F4B563-EADC-4859-8E21-6513DD83A3EB}" dt="2022-10-28T15:43:49.301" v="11939" actId="20577"/>
        <pc:sldMkLst>
          <pc:docMk/>
          <pc:sldMk cId="244629787" sldId="2138"/>
        </pc:sldMkLst>
        <pc:spChg chg="add mod">
          <ac:chgData name="Helson, Madelyn" userId="b8387ea0-a4af-45e1-9747-7dabd6c5d9bc" providerId="ADAL" clId="{29F4B563-EADC-4859-8E21-6513DD83A3EB}" dt="2022-10-28T15:41:26.069" v="11922" actId="1036"/>
          <ac:spMkLst>
            <pc:docMk/>
            <pc:sldMk cId="244629787" sldId="2138"/>
            <ac:spMk id="6" creationId="{B755B06A-DD70-4993-AB85-347559D4BB8E}"/>
          </ac:spMkLst>
        </pc:spChg>
        <pc:spChg chg="add mod">
          <ac:chgData name="Helson, Madelyn" userId="b8387ea0-a4af-45e1-9747-7dabd6c5d9bc" providerId="ADAL" clId="{29F4B563-EADC-4859-8E21-6513DD83A3EB}" dt="2022-10-28T15:42:26.203" v="11929" actId="1076"/>
          <ac:spMkLst>
            <pc:docMk/>
            <pc:sldMk cId="244629787" sldId="2138"/>
            <ac:spMk id="7" creationId="{527373A2-417A-4848-93FD-D3F3BA5E279E}"/>
          </ac:spMkLst>
        </pc:spChg>
        <pc:spChg chg="mod">
          <ac:chgData name="Helson, Madelyn" userId="b8387ea0-a4af-45e1-9747-7dabd6c5d9bc" providerId="ADAL" clId="{29F4B563-EADC-4859-8E21-6513DD83A3EB}" dt="2022-10-28T15:43:49.301" v="11939" actId="20577"/>
          <ac:spMkLst>
            <pc:docMk/>
            <pc:sldMk cId="244629787" sldId="2138"/>
            <ac:spMk id="9" creationId="{F06D3CA6-2FE0-4B26-A5D0-F6F8BF96EC0D}"/>
          </ac:spMkLst>
        </pc:spChg>
        <pc:spChg chg="mod">
          <ac:chgData name="Helson, Madelyn" userId="b8387ea0-a4af-45e1-9747-7dabd6c5d9bc" providerId="ADAL" clId="{29F4B563-EADC-4859-8E21-6513DD83A3EB}" dt="2022-10-28T14:11:08.407" v="10525" actId="20577"/>
          <ac:spMkLst>
            <pc:docMk/>
            <pc:sldMk cId="244629787" sldId="2138"/>
            <ac:spMk id="38" creationId="{EEAA6AD0-46E1-4E03-897D-991B591A3AD5}"/>
          </ac:spMkLst>
        </pc:spChg>
        <pc:picChg chg="add mod">
          <ac:chgData name="Helson, Madelyn" userId="b8387ea0-a4af-45e1-9747-7dabd6c5d9bc" providerId="ADAL" clId="{29F4B563-EADC-4859-8E21-6513DD83A3EB}" dt="2022-10-28T15:39:48.823" v="11904" actId="1076"/>
          <ac:picMkLst>
            <pc:docMk/>
            <pc:sldMk cId="244629787" sldId="2138"/>
            <ac:picMk id="4" creationId="{89AA6EAB-7D86-4D91-80BB-A864045845F4}"/>
          </ac:picMkLst>
        </pc:picChg>
        <pc:picChg chg="del">
          <ac:chgData name="Helson, Madelyn" userId="b8387ea0-a4af-45e1-9747-7dabd6c5d9bc" providerId="ADAL" clId="{29F4B563-EADC-4859-8E21-6513DD83A3EB}" dt="2022-10-28T14:21:37.314" v="10859" actId="478"/>
          <ac:picMkLst>
            <pc:docMk/>
            <pc:sldMk cId="244629787" sldId="2138"/>
            <ac:picMk id="8" creationId="{89C38393-6EC7-4699-9892-D20B177003DB}"/>
          </ac:picMkLst>
        </pc:picChg>
        <pc:cxnChg chg="mod ord">
          <ac:chgData name="Helson, Madelyn" userId="b8387ea0-a4af-45e1-9747-7dabd6c5d9bc" providerId="ADAL" clId="{29F4B563-EADC-4859-8E21-6513DD83A3EB}" dt="2022-10-28T15:40:10.316" v="11912" actId="1582"/>
          <ac:cxnSpMkLst>
            <pc:docMk/>
            <pc:sldMk cId="244629787" sldId="2138"/>
            <ac:cxnSpMk id="5" creationId="{76C5A827-54F0-4729-9262-C073F734BDFF}"/>
          </ac:cxnSpMkLst>
        </pc:cxnChg>
      </pc:sldChg>
      <pc:sldChg chg="addSp delSp modSp mod modNotesTx">
        <pc:chgData name="Helson, Madelyn" userId="b8387ea0-a4af-45e1-9747-7dabd6c5d9bc" providerId="ADAL" clId="{29F4B563-EADC-4859-8E21-6513DD83A3EB}" dt="2022-10-28T15:37:34.342" v="11887" actId="1076"/>
        <pc:sldMkLst>
          <pc:docMk/>
          <pc:sldMk cId="610726245" sldId="2139"/>
        </pc:sldMkLst>
        <pc:spChg chg="add mod">
          <ac:chgData name="Helson, Madelyn" userId="b8387ea0-a4af-45e1-9747-7dabd6c5d9bc" providerId="ADAL" clId="{29F4B563-EADC-4859-8E21-6513DD83A3EB}" dt="2022-10-28T15:37:34.342" v="11887" actId="1076"/>
          <ac:spMkLst>
            <pc:docMk/>
            <pc:sldMk cId="610726245" sldId="2139"/>
            <ac:spMk id="4" creationId="{65B1612D-82FB-424F-A873-9D3C97FBFC25}"/>
          </ac:spMkLst>
        </pc:spChg>
        <pc:spChg chg="mod">
          <ac:chgData name="Helson, Madelyn" userId="b8387ea0-a4af-45e1-9747-7dabd6c5d9bc" providerId="ADAL" clId="{29F4B563-EADC-4859-8E21-6513DD83A3EB}" dt="2022-10-28T14:10:23.152" v="10478" actId="20577"/>
          <ac:spMkLst>
            <pc:docMk/>
            <pc:sldMk cId="610726245" sldId="2139"/>
            <ac:spMk id="38" creationId="{EEAA6AD0-46E1-4E03-897D-991B591A3AD5}"/>
          </ac:spMkLst>
        </pc:spChg>
        <pc:picChg chg="add mod">
          <ac:chgData name="Helson, Madelyn" userId="b8387ea0-a4af-45e1-9747-7dabd6c5d9bc" providerId="ADAL" clId="{29F4B563-EADC-4859-8E21-6513DD83A3EB}" dt="2022-10-28T14:07:27.283" v="10432" actId="1076"/>
          <ac:picMkLst>
            <pc:docMk/>
            <pc:sldMk cId="610726245" sldId="2139"/>
            <ac:picMk id="3" creationId="{9D419411-B366-4FCB-ABD9-EE74B92E76E8}"/>
          </ac:picMkLst>
        </pc:picChg>
        <pc:picChg chg="del">
          <ac:chgData name="Helson, Madelyn" userId="b8387ea0-a4af-45e1-9747-7dabd6c5d9bc" providerId="ADAL" clId="{29F4B563-EADC-4859-8E21-6513DD83A3EB}" dt="2022-10-28T14:06:51.505" v="10426" actId="478"/>
          <ac:picMkLst>
            <pc:docMk/>
            <pc:sldMk cId="610726245" sldId="2139"/>
            <ac:picMk id="1026" creationId="{BFA2F62C-5CC5-4D7B-90C9-016DD0EA5C85}"/>
          </ac:picMkLst>
        </pc:picChg>
      </pc:sldChg>
      <pc:sldChg chg="addSp delSp modSp del mod">
        <pc:chgData name="Helson, Madelyn" userId="b8387ea0-a4af-45e1-9747-7dabd6c5d9bc" providerId="ADAL" clId="{29F4B563-EADC-4859-8E21-6513DD83A3EB}" dt="2022-10-27T16:54:15.112" v="2595" actId="2696"/>
        <pc:sldMkLst>
          <pc:docMk/>
          <pc:sldMk cId="4054848473" sldId="2140"/>
        </pc:sldMkLst>
        <pc:spChg chg="add del mod">
          <ac:chgData name="Helson, Madelyn" userId="b8387ea0-a4af-45e1-9747-7dabd6c5d9bc" providerId="ADAL" clId="{29F4B563-EADC-4859-8E21-6513DD83A3EB}" dt="2022-10-27T16:30:44.023" v="560"/>
          <ac:spMkLst>
            <pc:docMk/>
            <pc:sldMk cId="4054848473" sldId="2140"/>
            <ac:spMk id="4" creationId="{88397633-8C90-4A8D-930D-CE7E74B65F1B}"/>
          </ac:spMkLst>
        </pc:spChg>
        <pc:spChg chg="add del mod">
          <ac:chgData name="Helson, Madelyn" userId="b8387ea0-a4af-45e1-9747-7dabd6c5d9bc" providerId="ADAL" clId="{29F4B563-EADC-4859-8E21-6513DD83A3EB}" dt="2022-10-27T16:30:44.023" v="562"/>
          <ac:spMkLst>
            <pc:docMk/>
            <pc:sldMk cId="4054848473" sldId="2140"/>
            <ac:spMk id="5" creationId="{E9680B21-4BD4-4A76-AECB-08DFB7A179E8}"/>
          </ac:spMkLst>
        </pc:spChg>
        <pc:spChg chg="add del mod">
          <ac:chgData name="Helson, Madelyn" userId="b8387ea0-a4af-45e1-9747-7dabd6c5d9bc" providerId="ADAL" clId="{29F4B563-EADC-4859-8E21-6513DD83A3EB}" dt="2022-10-27T16:33:06.010" v="740"/>
          <ac:spMkLst>
            <pc:docMk/>
            <pc:sldMk cId="4054848473" sldId="2140"/>
            <ac:spMk id="6" creationId="{0D1A844A-1039-419F-8533-E4DD8B2ED6AA}"/>
          </ac:spMkLst>
        </pc:spChg>
        <pc:spChg chg="add mod">
          <ac:chgData name="Helson, Madelyn" userId="b8387ea0-a4af-45e1-9747-7dabd6c5d9bc" providerId="ADAL" clId="{29F4B563-EADC-4859-8E21-6513DD83A3EB}" dt="2022-10-27T16:33:00.094" v="738" actId="20577"/>
          <ac:spMkLst>
            <pc:docMk/>
            <pc:sldMk cId="4054848473" sldId="2140"/>
            <ac:spMk id="7" creationId="{16286214-2135-4C56-9CA7-F92FED380EEB}"/>
          </ac:spMkLst>
        </pc:spChg>
        <pc:picChg chg="add del mod">
          <ac:chgData name="Helson, Madelyn" userId="b8387ea0-a4af-45e1-9747-7dabd6c5d9bc" providerId="ADAL" clId="{29F4B563-EADC-4859-8E21-6513DD83A3EB}" dt="2022-10-27T16:52:05.404" v="2576" actId="478"/>
          <ac:picMkLst>
            <pc:docMk/>
            <pc:sldMk cId="4054848473" sldId="2140"/>
            <ac:picMk id="3" creationId="{47789095-CA6A-4113-8328-9DDE8CA8A5D9}"/>
          </ac:picMkLst>
        </pc:picChg>
        <pc:picChg chg="add mod">
          <ac:chgData name="Helson, Madelyn" userId="b8387ea0-a4af-45e1-9747-7dabd6c5d9bc" providerId="ADAL" clId="{29F4B563-EADC-4859-8E21-6513DD83A3EB}" dt="2022-10-27T16:52:29.109" v="2581" actId="1076"/>
          <ac:picMkLst>
            <pc:docMk/>
            <pc:sldMk cId="4054848473" sldId="2140"/>
            <ac:picMk id="9" creationId="{D2E04DF7-A09D-433B-9063-0E0E739E22BB}"/>
          </ac:picMkLst>
        </pc:picChg>
      </pc:sldChg>
      <pc:sldChg chg="modNotesTx">
        <pc:chgData name="Helson, Madelyn" userId="b8387ea0-a4af-45e1-9747-7dabd6c5d9bc" providerId="ADAL" clId="{29F4B563-EADC-4859-8E21-6513DD83A3EB}" dt="2022-10-27T21:24:05.933" v="6613" actId="20577"/>
        <pc:sldMkLst>
          <pc:docMk/>
          <pc:sldMk cId="933046347" sldId="2141"/>
        </pc:sldMkLst>
      </pc:sldChg>
      <pc:sldChg chg="modNotesTx">
        <pc:chgData name="Helson, Madelyn" userId="b8387ea0-a4af-45e1-9747-7dabd6c5d9bc" providerId="ADAL" clId="{29F4B563-EADC-4859-8E21-6513DD83A3EB}" dt="2022-10-27T21:24:02.457" v="6608" actId="20577"/>
        <pc:sldMkLst>
          <pc:docMk/>
          <pc:sldMk cId="1975784513" sldId="2142"/>
        </pc:sldMkLst>
      </pc:sldChg>
      <pc:sldChg chg="addSp delSp modSp add del mod ord modShow modNotesTx">
        <pc:chgData name="Helson, Madelyn" userId="b8387ea0-a4af-45e1-9747-7dabd6c5d9bc" providerId="ADAL" clId="{29F4B563-EADC-4859-8E21-6513DD83A3EB}" dt="2022-10-28T16:32:16.243" v="11989" actId="729"/>
        <pc:sldMkLst>
          <pc:docMk/>
          <pc:sldMk cId="3119844409" sldId="2143"/>
        </pc:sldMkLst>
        <pc:spChg chg="mod">
          <ac:chgData name="Helson, Madelyn" userId="b8387ea0-a4af-45e1-9747-7dabd6c5d9bc" providerId="ADAL" clId="{29F4B563-EADC-4859-8E21-6513DD83A3EB}" dt="2022-10-27T18:04:19.632" v="5477" actId="20577"/>
          <ac:spMkLst>
            <pc:docMk/>
            <pc:sldMk cId="3119844409" sldId="2143"/>
            <ac:spMk id="37" creationId="{4E5B019D-6BC1-4570-9FB3-D8F79C703418}"/>
          </ac:spMkLst>
        </pc:spChg>
        <pc:spChg chg="mod">
          <ac:chgData name="Helson, Madelyn" userId="b8387ea0-a4af-45e1-9747-7dabd6c5d9bc" providerId="ADAL" clId="{29F4B563-EADC-4859-8E21-6513DD83A3EB}" dt="2022-10-27T18:04:54.913" v="5479" actId="1076"/>
          <ac:spMkLst>
            <pc:docMk/>
            <pc:sldMk cId="3119844409" sldId="2143"/>
            <ac:spMk id="40" creationId="{69B3B131-4158-4BA8-AEC0-2C8B1306DEC6}"/>
          </ac:spMkLst>
        </pc:spChg>
        <pc:spChg chg="mod">
          <ac:chgData name="Helson, Madelyn" userId="b8387ea0-a4af-45e1-9747-7dabd6c5d9bc" providerId="ADAL" clId="{29F4B563-EADC-4859-8E21-6513DD83A3EB}" dt="2022-10-28T16:32:07.256" v="11987" actId="1076"/>
          <ac:spMkLst>
            <pc:docMk/>
            <pc:sldMk cId="3119844409" sldId="2143"/>
            <ac:spMk id="41" creationId="{4C0670C2-BF3B-46BE-B0AD-76D6CB351D77}"/>
          </ac:spMkLst>
        </pc:spChg>
        <pc:spChg chg="mod">
          <ac:chgData name="Helson, Madelyn" userId="b8387ea0-a4af-45e1-9747-7dabd6c5d9bc" providerId="ADAL" clId="{29F4B563-EADC-4859-8E21-6513DD83A3EB}" dt="2022-10-28T16:32:10.900" v="11988" actId="1076"/>
          <ac:spMkLst>
            <pc:docMk/>
            <pc:sldMk cId="3119844409" sldId="2143"/>
            <ac:spMk id="42" creationId="{974930CA-7930-4747-A99C-010D1AB62E31}"/>
          </ac:spMkLst>
        </pc:spChg>
        <pc:spChg chg="add del">
          <ac:chgData name="Helson, Madelyn" userId="b8387ea0-a4af-45e1-9747-7dabd6c5d9bc" providerId="ADAL" clId="{29F4B563-EADC-4859-8E21-6513DD83A3EB}" dt="2022-10-27T17:50:22.660" v="4211" actId="22"/>
          <ac:spMkLst>
            <pc:docMk/>
            <pc:sldMk cId="3119844409" sldId="2143"/>
            <ac:spMk id="43" creationId="{D180E38C-5A5D-4A33-9487-9474127EAF02}"/>
          </ac:spMkLst>
        </pc:spChg>
        <pc:grpChg chg="mod">
          <ac:chgData name="Helson, Madelyn" userId="b8387ea0-a4af-45e1-9747-7dabd6c5d9bc" providerId="ADAL" clId="{29F4B563-EADC-4859-8E21-6513DD83A3EB}" dt="2022-10-27T18:01:27.200" v="5124" actId="1076"/>
          <ac:grpSpMkLst>
            <pc:docMk/>
            <pc:sldMk cId="3119844409" sldId="2143"/>
            <ac:grpSpMk id="23" creationId="{B3300688-1F0C-4149-A290-B87B3FE51DC2}"/>
          </ac:grpSpMkLst>
        </pc:grpChg>
        <pc:grpChg chg="mod">
          <ac:chgData name="Helson, Madelyn" userId="b8387ea0-a4af-45e1-9747-7dabd6c5d9bc" providerId="ADAL" clId="{29F4B563-EADC-4859-8E21-6513DD83A3EB}" dt="2022-10-28T16:31:55.299" v="11984" actId="1076"/>
          <ac:grpSpMkLst>
            <pc:docMk/>
            <pc:sldMk cId="3119844409" sldId="2143"/>
            <ac:grpSpMk id="27" creationId="{F2A452E0-7A08-4C33-BA49-0581505CB9F7}"/>
          </ac:grpSpMkLst>
        </pc:grpChg>
        <pc:grpChg chg="mod">
          <ac:chgData name="Helson, Madelyn" userId="b8387ea0-a4af-45e1-9747-7dabd6c5d9bc" providerId="ADAL" clId="{29F4B563-EADC-4859-8E21-6513DD83A3EB}" dt="2022-10-28T16:32:03.098" v="11986" actId="1076"/>
          <ac:grpSpMkLst>
            <pc:docMk/>
            <pc:sldMk cId="3119844409" sldId="2143"/>
            <ac:grpSpMk id="31" creationId="{19E4A361-E92D-4E5A-9D77-5550AB136DC1}"/>
          </ac:grpSpMkLst>
        </pc:grpChg>
        <pc:picChg chg="mod">
          <ac:chgData name="Helson, Madelyn" userId="b8387ea0-a4af-45e1-9747-7dabd6c5d9bc" providerId="ADAL" clId="{29F4B563-EADC-4859-8E21-6513DD83A3EB}" dt="2022-10-27T17:49:13.856" v="4160" actId="1076"/>
          <ac:picMkLst>
            <pc:docMk/>
            <pc:sldMk cId="3119844409" sldId="2143"/>
            <ac:picMk id="47" creationId="{5558F156-CC6F-4C8D-83A8-64EAE0F1B172}"/>
          </ac:picMkLst>
        </pc:picChg>
        <pc:picChg chg="mod">
          <ac:chgData name="Helson, Madelyn" userId="b8387ea0-a4af-45e1-9747-7dabd6c5d9bc" providerId="ADAL" clId="{29F4B563-EADC-4859-8E21-6513DD83A3EB}" dt="2022-10-27T18:01:32.047" v="5125" actId="1076"/>
          <ac:picMkLst>
            <pc:docMk/>
            <pc:sldMk cId="3119844409" sldId="2143"/>
            <ac:picMk id="49" creationId="{00A84166-A90E-4D28-99C3-9997331F7C7E}"/>
          </ac:picMkLst>
        </pc:picChg>
        <pc:picChg chg="mod">
          <ac:chgData name="Helson, Madelyn" userId="b8387ea0-a4af-45e1-9747-7dabd6c5d9bc" providerId="ADAL" clId="{29F4B563-EADC-4859-8E21-6513DD83A3EB}" dt="2022-10-27T17:49:08.252" v="4158" actId="1076"/>
          <ac:picMkLst>
            <pc:docMk/>
            <pc:sldMk cId="3119844409" sldId="2143"/>
            <ac:picMk id="52" creationId="{E0B774A9-284B-4873-94D5-FDE3D784B23A}"/>
          </ac:picMkLst>
        </pc:picChg>
        <pc:cxnChg chg="mod">
          <ac:chgData name="Helson, Madelyn" userId="b8387ea0-a4af-45e1-9747-7dabd6c5d9bc" providerId="ADAL" clId="{29F4B563-EADC-4859-8E21-6513DD83A3EB}" dt="2022-10-27T18:01:18.304" v="5122" actId="14100"/>
          <ac:cxnSpMkLst>
            <pc:docMk/>
            <pc:sldMk cId="3119844409" sldId="2143"/>
            <ac:cxnSpMk id="39" creationId="{EE8890CF-8BF1-477C-9F4C-FA14290E51FA}"/>
          </ac:cxnSpMkLst>
        </pc:cxnChg>
      </pc:sldChg>
      <pc:sldChg chg="del">
        <pc:chgData name="Helson, Madelyn" userId="b8387ea0-a4af-45e1-9747-7dabd6c5d9bc" providerId="ADAL" clId="{29F4B563-EADC-4859-8E21-6513DD83A3EB}" dt="2022-10-28T16:31:15.659" v="11971" actId="47"/>
        <pc:sldMkLst>
          <pc:docMk/>
          <pc:sldMk cId="569897438" sldId="2144"/>
        </pc:sldMkLst>
      </pc:sldChg>
      <pc:sldChg chg="addSp delSp modSp add del mod modNotesTx">
        <pc:chgData name="Helson, Madelyn" userId="b8387ea0-a4af-45e1-9747-7dabd6c5d9bc" providerId="ADAL" clId="{29F4B563-EADC-4859-8E21-6513DD83A3EB}" dt="2022-10-28T15:37:52.023" v="11889" actId="1076"/>
        <pc:sldMkLst>
          <pc:docMk/>
          <pc:sldMk cId="1335653565" sldId="2145"/>
        </pc:sldMkLst>
        <pc:spChg chg="add mod">
          <ac:chgData name="Helson, Madelyn" userId="b8387ea0-a4af-45e1-9747-7dabd6c5d9bc" providerId="ADAL" clId="{29F4B563-EADC-4859-8E21-6513DD83A3EB}" dt="2022-10-28T15:37:52.023" v="11889" actId="1076"/>
          <ac:spMkLst>
            <pc:docMk/>
            <pc:sldMk cId="1335653565" sldId="2145"/>
            <ac:spMk id="7" creationId="{F0B16CAE-6D6C-4CF7-80C0-21813DC663D8}"/>
          </ac:spMkLst>
        </pc:spChg>
        <pc:spChg chg="mod">
          <ac:chgData name="Helson, Madelyn" userId="b8387ea0-a4af-45e1-9747-7dabd6c5d9bc" providerId="ADAL" clId="{29F4B563-EADC-4859-8E21-6513DD83A3EB}" dt="2022-10-28T14:10:30.657" v="10485" actId="20577"/>
          <ac:spMkLst>
            <pc:docMk/>
            <pc:sldMk cId="1335653565" sldId="2145"/>
            <ac:spMk id="38" creationId="{EEAA6AD0-46E1-4E03-897D-991B591A3AD5}"/>
          </ac:spMkLst>
        </pc:spChg>
        <pc:picChg chg="add mod">
          <ac:chgData name="Helson, Madelyn" userId="b8387ea0-a4af-45e1-9747-7dabd6c5d9bc" providerId="ADAL" clId="{29F4B563-EADC-4859-8E21-6513DD83A3EB}" dt="2022-10-28T14:07:43.526" v="10438" actId="1076"/>
          <ac:picMkLst>
            <pc:docMk/>
            <pc:sldMk cId="1335653565" sldId="2145"/>
            <ac:picMk id="3" creationId="{D5F26685-03E3-4C46-A88E-C33270681F70}"/>
          </ac:picMkLst>
        </pc:picChg>
        <pc:picChg chg="del">
          <ac:chgData name="Helson, Madelyn" userId="b8387ea0-a4af-45e1-9747-7dabd6c5d9bc" providerId="ADAL" clId="{29F4B563-EADC-4859-8E21-6513DD83A3EB}" dt="2022-10-28T14:07:31.328" v="10433" actId="478"/>
          <ac:picMkLst>
            <pc:docMk/>
            <pc:sldMk cId="1335653565" sldId="2145"/>
            <ac:picMk id="1027" creationId="{C39806A0-C3EC-4D91-B7FF-8202A18A8A59}"/>
          </ac:picMkLst>
        </pc:picChg>
      </pc:sldChg>
      <pc:sldChg chg="addSp delSp modSp mod ord modNotesTx">
        <pc:chgData name="Helson, Madelyn" userId="b8387ea0-a4af-45e1-9747-7dabd6c5d9bc" providerId="ADAL" clId="{29F4B563-EADC-4859-8E21-6513DD83A3EB}" dt="2022-10-28T15:38:27.029" v="11892" actId="1076"/>
        <pc:sldMkLst>
          <pc:docMk/>
          <pc:sldMk cId="605905717" sldId="2146"/>
        </pc:sldMkLst>
        <pc:spChg chg="add mod">
          <ac:chgData name="Helson, Madelyn" userId="b8387ea0-a4af-45e1-9747-7dabd6c5d9bc" providerId="ADAL" clId="{29F4B563-EADC-4859-8E21-6513DD83A3EB}" dt="2022-10-28T15:38:27.029" v="11892" actId="1076"/>
          <ac:spMkLst>
            <pc:docMk/>
            <pc:sldMk cId="605905717" sldId="2146"/>
            <ac:spMk id="7" creationId="{944BF13D-9331-4D86-83D1-F4A8128CCB37}"/>
          </ac:spMkLst>
        </pc:spChg>
        <pc:spChg chg="mod">
          <ac:chgData name="Helson, Madelyn" userId="b8387ea0-a4af-45e1-9747-7dabd6c5d9bc" providerId="ADAL" clId="{29F4B563-EADC-4859-8E21-6513DD83A3EB}" dt="2022-10-28T14:11:01.234" v="10513" actId="20577"/>
          <ac:spMkLst>
            <pc:docMk/>
            <pc:sldMk cId="605905717" sldId="2146"/>
            <ac:spMk id="38" creationId="{EEAA6AD0-46E1-4E03-897D-991B591A3AD5}"/>
          </ac:spMkLst>
        </pc:spChg>
        <pc:picChg chg="add mod">
          <ac:chgData name="Helson, Madelyn" userId="b8387ea0-a4af-45e1-9747-7dabd6c5d9bc" providerId="ADAL" clId="{29F4B563-EADC-4859-8E21-6513DD83A3EB}" dt="2022-10-28T14:16:42.817" v="10650" actId="1076"/>
          <ac:picMkLst>
            <pc:docMk/>
            <pc:sldMk cId="605905717" sldId="2146"/>
            <ac:picMk id="4" creationId="{622056C4-8F5A-49C3-B68D-80436D8FA1C3}"/>
          </ac:picMkLst>
        </pc:picChg>
        <pc:picChg chg="del">
          <ac:chgData name="Helson, Madelyn" userId="b8387ea0-a4af-45e1-9747-7dabd6c5d9bc" providerId="ADAL" clId="{29F4B563-EADC-4859-8E21-6513DD83A3EB}" dt="2022-10-28T14:16:21.958" v="10643" actId="478"/>
          <ac:picMkLst>
            <pc:docMk/>
            <pc:sldMk cId="605905717" sldId="2146"/>
            <ac:picMk id="6" creationId="{65D98BCE-8E60-467B-9FC6-0E7F439252A5}"/>
          </ac:picMkLst>
        </pc:picChg>
      </pc:sldChg>
      <pc:sldChg chg="addSp delSp modSp add mod ord modNotesTx">
        <pc:chgData name="Helson, Madelyn" userId="b8387ea0-a4af-45e1-9747-7dabd6c5d9bc" providerId="ADAL" clId="{29F4B563-EADC-4859-8E21-6513DD83A3EB}" dt="2022-10-28T14:10:07.145" v="10453" actId="20577"/>
        <pc:sldMkLst>
          <pc:docMk/>
          <pc:sldMk cId="1904082048" sldId="2147"/>
        </pc:sldMkLst>
        <pc:spChg chg="add mod ord">
          <ac:chgData name="Helson, Madelyn" userId="b8387ea0-a4af-45e1-9747-7dabd6c5d9bc" providerId="ADAL" clId="{29F4B563-EADC-4859-8E21-6513DD83A3EB}" dt="2022-10-28T14:06:35.684" v="10425" actId="14100"/>
          <ac:spMkLst>
            <pc:docMk/>
            <pc:sldMk cId="1904082048" sldId="2147"/>
            <ac:spMk id="2" creationId="{048A95A8-F1D3-4C1B-94AE-70B0DC31F5E5}"/>
          </ac:spMkLst>
        </pc:spChg>
        <pc:spChg chg="del mod">
          <ac:chgData name="Helson, Madelyn" userId="b8387ea0-a4af-45e1-9747-7dabd6c5d9bc" providerId="ADAL" clId="{29F4B563-EADC-4859-8E21-6513DD83A3EB}" dt="2022-10-28T12:47:47.088" v="9026"/>
          <ac:spMkLst>
            <pc:docMk/>
            <pc:sldMk cId="1904082048" sldId="2147"/>
            <ac:spMk id="7" creationId="{16286214-2135-4C56-9CA7-F92FED380EEB}"/>
          </ac:spMkLst>
        </pc:spChg>
        <pc:spChg chg="mod">
          <ac:chgData name="Helson, Madelyn" userId="b8387ea0-a4af-45e1-9747-7dabd6c5d9bc" providerId="ADAL" clId="{29F4B563-EADC-4859-8E21-6513DD83A3EB}" dt="2022-10-27T16:48:49.689" v="2575" actId="20577"/>
          <ac:spMkLst>
            <pc:docMk/>
            <pc:sldMk cId="1904082048" sldId="2147"/>
            <ac:spMk id="37" creationId="{4E5B019D-6BC1-4570-9FB3-D8F79C703418}"/>
          </ac:spMkLst>
        </pc:spChg>
        <pc:spChg chg="mod">
          <ac:chgData name="Helson, Madelyn" userId="b8387ea0-a4af-45e1-9747-7dabd6c5d9bc" providerId="ADAL" clId="{29F4B563-EADC-4859-8E21-6513DD83A3EB}" dt="2022-10-28T14:10:07.145" v="10453" actId="20577"/>
          <ac:spMkLst>
            <pc:docMk/>
            <pc:sldMk cId="1904082048" sldId="2147"/>
            <ac:spMk id="38" creationId="{EEAA6AD0-46E1-4E03-897D-991B591A3AD5}"/>
          </ac:spMkLst>
        </pc:spChg>
        <pc:graphicFrameChg chg="add mod modGraphic">
          <ac:chgData name="Helson, Madelyn" userId="b8387ea0-a4af-45e1-9747-7dabd6c5d9bc" providerId="ADAL" clId="{29F4B563-EADC-4859-8E21-6513DD83A3EB}" dt="2022-10-28T13:25:09.231" v="9466" actId="20577"/>
          <ac:graphicFrameMkLst>
            <pc:docMk/>
            <pc:sldMk cId="1904082048" sldId="2147"/>
            <ac:graphicFrameMk id="4" creationId="{2A9FCF2A-0C87-4CF8-B7D4-351311BFA5B1}"/>
          </ac:graphicFrameMkLst>
        </pc:graphicFrameChg>
        <pc:picChg chg="del mod">
          <ac:chgData name="Helson, Madelyn" userId="b8387ea0-a4af-45e1-9747-7dabd6c5d9bc" providerId="ADAL" clId="{29F4B563-EADC-4859-8E21-6513DD83A3EB}" dt="2022-10-28T14:03:20.863" v="10383" actId="478"/>
          <ac:picMkLst>
            <pc:docMk/>
            <pc:sldMk cId="1904082048" sldId="2147"/>
            <ac:picMk id="3" creationId="{47789095-CA6A-4113-8328-9DDE8CA8A5D9}"/>
          </ac:picMkLst>
        </pc:picChg>
        <pc:picChg chg="add del mod">
          <ac:chgData name="Helson, Madelyn" userId="b8387ea0-a4af-45e1-9747-7dabd6c5d9bc" providerId="ADAL" clId="{29F4B563-EADC-4859-8E21-6513DD83A3EB}" dt="2022-10-28T14:03:32.339" v="10389" actId="478"/>
          <ac:picMkLst>
            <pc:docMk/>
            <pc:sldMk cId="1904082048" sldId="2147"/>
            <ac:picMk id="6" creationId="{2F51E65B-CBD5-4E7C-9C00-C03A11C6622C}"/>
          </ac:picMkLst>
        </pc:picChg>
        <pc:picChg chg="add mod">
          <ac:chgData name="Helson, Madelyn" userId="b8387ea0-a4af-45e1-9747-7dabd6c5d9bc" providerId="ADAL" clId="{29F4B563-EADC-4859-8E21-6513DD83A3EB}" dt="2022-10-28T14:06:19.885" v="10422" actId="1076"/>
          <ac:picMkLst>
            <pc:docMk/>
            <pc:sldMk cId="1904082048" sldId="2147"/>
            <ac:picMk id="9" creationId="{9B569E1B-015D-4339-B635-271D81A10D35}"/>
          </ac:picMkLst>
        </pc:picChg>
      </pc:sldChg>
      <pc:sldChg chg="modNotesTx">
        <pc:chgData name="Helson, Madelyn" userId="b8387ea0-a4af-45e1-9747-7dabd6c5d9bc" providerId="ADAL" clId="{29F4B563-EADC-4859-8E21-6513DD83A3EB}" dt="2022-10-27T21:23:21.509" v="6556" actId="20577"/>
        <pc:sldMkLst>
          <pc:docMk/>
          <pc:sldMk cId="205456675" sldId="2148"/>
        </pc:sldMkLst>
      </pc:sldChg>
      <pc:sldChg chg="addSp delSp modSp add mod ord modNotesTx">
        <pc:chgData name="Helson, Madelyn" userId="b8387ea0-a4af-45e1-9747-7dabd6c5d9bc" providerId="ADAL" clId="{29F4B563-EADC-4859-8E21-6513DD83A3EB}" dt="2022-10-28T15:32:53.567" v="11713" actId="207"/>
        <pc:sldMkLst>
          <pc:docMk/>
          <pc:sldMk cId="1906708045" sldId="2149"/>
        </pc:sldMkLst>
        <pc:spChg chg="del mod">
          <ac:chgData name="Helson, Madelyn" userId="b8387ea0-a4af-45e1-9747-7dabd6c5d9bc" providerId="ADAL" clId="{29F4B563-EADC-4859-8E21-6513DD83A3EB}" dt="2022-10-28T12:49:03.938" v="9063" actId="478"/>
          <ac:spMkLst>
            <pc:docMk/>
            <pc:sldMk cId="1906708045" sldId="2149"/>
            <ac:spMk id="7" creationId="{16286214-2135-4C56-9CA7-F92FED380EEB}"/>
          </ac:spMkLst>
        </pc:spChg>
        <pc:spChg chg="add mod ord">
          <ac:chgData name="Helson, Madelyn" userId="b8387ea0-a4af-45e1-9747-7dabd6c5d9bc" providerId="ADAL" clId="{29F4B563-EADC-4859-8E21-6513DD83A3EB}" dt="2022-10-28T14:13:51.660" v="10568" actId="1076"/>
          <ac:spMkLst>
            <pc:docMk/>
            <pc:sldMk cId="1906708045" sldId="2149"/>
            <ac:spMk id="8" creationId="{D5B6ADD2-5402-448C-A56A-55C91714D636}"/>
          </ac:spMkLst>
        </pc:spChg>
        <pc:spChg chg="add del mod">
          <ac:chgData name="Helson, Madelyn" userId="b8387ea0-a4af-45e1-9747-7dabd6c5d9bc" providerId="ADAL" clId="{29F4B563-EADC-4859-8E21-6513DD83A3EB}" dt="2022-10-27T18:07:25.338" v="5504"/>
          <ac:spMkLst>
            <pc:docMk/>
            <pc:sldMk cId="1906708045" sldId="2149"/>
            <ac:spMk id="9" creationId="{A6B82EF0-15CE-49ED-B9DF-6AD9AA52F5C8}"/>
          </ac:spMkLst>
        </pc:spChg>
        <pc:spChg chg="add mod">
          <ac:chgData name="Helson, Madelyn" userId="b8387ea0-a4af-45e1-9747-7dabd6c5d9bc" providerId="ADAL" clId="{29F4B563-EADC-4859-8E21-6513DD83A3EB}" dt="2022-10-28T14:05:26.083" v="10414" actId="1076"/>
          <ac:spMkLst>
            <pc:docMk/>
            <pc:sldMk cId="1906708045" sldId="2149"/>
            <ac:spMk id="10" creationId="{CC084EB8-A170-4C5C-93A0-0CDCAD55355E}"/>
          </ac:spMkLst>
        </pc:spChg>
        <pc:spChg chg="add mod">
          <ac:chgData name="Helson, Madelyn" userId="b8387ea0-a4af-45e1-9747-7dabd6c5d9bc" providerId="ADAL" clId="{29F4B563-EADC-4859-8E21-6513DD83A3EB}" dt="2022-10-28T14:13:57.188" v="10569" actId="1076"/>
          <ac:spMkLst>
            <pc:docMk/>
            <pc:sldMk cId="1906708045" sldId="2149"/>
            <ac:spMk id="15" creationId="{DD600B80-79E4-4950-8E28-4305C2A4A310}"/>
          </ac:spMkLst>
        </pc:spChg>
        <pc:spChg chg="mod">
          <ac:chgData name="Helson, Madelyn" userId="b8387ea0-a4af-45e1-9747-7dabd6c5d9bc" providerId="ADAL" clId="{29F4B563-EADC-4859-8E21-6513DD83A3EB}" dt="2022-10-28T12:54:39.846" v="9262" actId="20577"/>
          <ac:spMkLst>
            <pc:docMk/>
            <pc:sldMk cId="1906708045" sldId="2149"/>
            <ac:spMk id="37" creationId="{4E5B019D-6BC1-4570-9FB3-D8F79C703418}"/>
          </ac:spMkLst>
        </pc:spChg>
        <pc:spChg chg="mod">
          <ac:chgData name="Helson, Madelyn" userId="b8387ea0-a4af-45e1-9747-7dabd6c5d9bc" providerId="ADAL" clId="{29F4B563-EADC-4859-8E21-6513DD83A3EB}" dt="2022-10-28T14:10:14.962" v="10465" actId="20577"/>
          <ac:spMkLst>
            <pc:docMk/>
            <pc:sldMk cId="1906708045" sldId="2149"/>
            <ac:spMk id="38" creationId="{EEAA6AD0-46E1-4E03-897D-991B591A3AD5}"/>
          </ac:spMkLst>
        </pc:spChg>
        <pc:graphicFrameChg chg="add mod modGraphic">
          <ac:chgData name="Helson, Madelyn" userId="b8387ea0-a4af-45e1-9747-7dabd6c5d9bc" providerId="ADAL" clId="{29F4B563-EADC-4859-8E21-6513DD83A3EB}" dt="2022-10-28T15:32:53.567" v="11713" actId="207"/>
          <ac:graphicFrameMkLst>
            <pc:docMk/>
            <pc:sldMk cId="1906708045" sldId="2149"/>
            <ac:graphicFrameMk id="13" creationId="{3BBE7CB4-ABEA-4552-9877-A5CB13613A49}"/>
          </ac:graphicFrameMkLst>
        </pc:graphicFrameChg>
        <pc:graphicFrameChg chg="add mod modGraphic">
          <ac:chgData name="Helson, Madelyn" userId="b8387ea0-a4af-45e1-9747-7dabd6c5d9bc" providerId="ADAL" clId="{29F4B563-EADC-4859-8E21-6513DD83A3EB}" dt="2022-10-28T12:53:21.941" v="9151" actId="20577"/>
          <ac:graphicFrameMkLst>
            <pc:docMk/>
            <pc:sldMk cId="1906708045" sldId="2149"/>
            <ac:graphicFrameMk id="14" creationId="{B6B91FF5-F728-42AA-9B16-CBDCFD98DA86}"/>
          </ac:graphicFrameMkLst>
        </pc:graphicFrameChg>
        <pc:picChg chg="del mod">
          <ac:chgData name="Helson, Madelyn" userId="b8387ea0-a4af-45e1-9747-7dabd6c5d9bc" providerId="ADAL" clId="{29F4B563-EADC-4859-8E21-6513DD83A3EB}" dt="2022-10-27T16:53:32.728" v="2591" actId="478"/>
          <ac:picMkLst>
            <pc:docMk/>
            <pc:sldMk cId="1906708045" sldId="2149"/>
            <ac:picMk id="3" creationId="{47789095-CA6A-4113-8328-9DDE8CA8A5D9}"/>
          </ac:picMkLst>
        </pc:picChg>
        <pc:picChg chg="add del mod">
          <ac:chgData name="Helson, Madelyn" userId="b8387ea0-a4af-45e1-9747-7dabd6c5d9bc" providerId="ADAL" clId="{29F4B563-EADC-4859-8E21-6513DD83A3EB}" dt="2022-10-28T14:04:35.381" v="10405" actId="478"/>
          <ac:picMkLst>
            <pc:docMk/>
            <pc:sldMk cId="1906708045" sldId="2149"/>
            <ac:picMk id="4" creationId="{0E81FEA1-F90B-448A-A47B-F1BF207A1C4C}"/>
          </ac:picMkLst>
        </pc:picChg>
        <pc:picChg chg="add mod">
          <ac:chgData name="Helson, Madelyn" userId="b8387ea0-a4af-45e1-9747-7dabd6c5d9bc" providerId="ADAL" clId="{29F4B563-EADC-4859-8E21-6513DD83A3EB}" dt="2022-10-28T14:13:43.654" v="10566" actId="1076"/>
          <ac:picMkLst>
            <pc:docMk/>
            <pc:sldMk cId="1906708045" sldId="2149"/>
            <ac:picMk id="12" creationId="{D8BA3EFE-FD91-4FC5-8EB3-8C3624919372}"/>
          </ac:picMkLst>
        </pc:picChg>
        <pc:cxnChg chg="add del mod">
          <ac:chgData name="Helson, Madelyn" userId="b8387ea0-a4af-45e1-9747-7dabd6c5d9bc" providerId="ADAL" clId="{29F4B563-EADC-4859-8E21-6513DD83A3EB}" dt="2022-10-27T16:58:18.866" v="2623" actId="478"/>
          <ac:cxnSpMkLst>
            <pc:docMk/>
            <pc:sldMk cId="1906708045" sldId="2149"/>
            <ac:cxnSpMk id="6" creationId="{C43B6E14-A731-45A3-B795-F00B015839C6}"/>
          </ac:cxnSpMkLst>
        </pc:cxnChg>
      </pc:sldChg>
      <pc:sldChg chg="delSp del mod delCm">
        <pc:chgData name="Helson, Madelyn" userId="b8387ea0-a4af-45e1-9747-7dabd6c5d9bc" providerId="ADAL" clId="{29F4B563-EADC-4859-8E21-6513DD83A3EB}" dt="2022-10-27T20:43:02.114" v="5782" actId="2696"/>
        <pc:sldMkLst>
          <pc:docMk/>
          <pc:sldMk cId="1133429887" sldId="2150"/>
        </pc:sldMkLst>
        <pc:picChg chg="del">
          <ac:chgData name="Helson, Madelyn" userId="b8387ea0-a4af-45e1-9747-7dabd6c5d9bc" providerId="ADAL" clId="{29F4B563-EADC-4859-8E21-6513DD83A3EB}" dt="2022-10-27T20:42:48.937" v="5780" actId="478"/>
          <ac:picMkLst>
            <pc:docMk/>
            <pc:sldMk cId="1133429887" sldId="2150"/>
            <ac:picMk id="3" creationId="{D297AF41-969C-468B-96B8-0DEA85876C2C}"/>
          </ac:picMkLst>
        </pc:picChg>
      </pc:sldChg>
      <pc:sldChg chg="addSp delSp modSp add mod ord modNotesTx">
        <pc:chgData name="Helson, Madelyn" userId="b8387ea0-a4af-45e1-9747-7dabd6c5d9bc" providerId="ADAL" clId="{29F4B563-EADC-4859-8E21-6513DD83A3EB}" dt="2022-10-28T15:48:12.628" v="11966" actId="1076"/>
        <pc:sldMkLst>
          <pc:docMk/>
          <pc:sldMk cId="3937499130" sldId="2150"/>
        </pc:sldMkLst>
        <pc:spChg chg="mod">
          <ac:chgData name="Helson, Madelyn" userId="b8387ea0-a4af-45e1-9747-7dabd6c5d9bc" providerId="ADAL" clId="{29F4B563-EADC-4859-8E21-6513DD83A3EB}" dt="2022-10-28T14:37:25.367" v="10951" actId="20577"/>
          <ac:spMkLst>
            <pc:docMk/>
            <pc:sldMk cId="3937499130" sldId="2150"/>
            <ac:spMk id="2" creationId="{00000000-0000-0000-0000-000000000000}"/>
          </ac:spMkLst>
        </pc:spChg>
        <pc:spChg chg="mod">
          <ac:chgData name="Helson, Madelyn" userId="b8387ea0-a4af-45e1-9747-7dabd6c5d9bc" providerId="ADAL" clId="{29F4B563-EADC-4859-8E21-6513DD83A3EB}" dt="2022-10-27T20:54:00.078" v="6314" actId="20577"/>
          <ac:spMkLst>
            <pc:docMk/>
            <pc:sldMk cId="3937499130" sldId="2150"/>
            <ac:spMk id="3" creationId="{00000000-0000-0000-0000-000000000000}"/>
          </ac:spMkLst>
        </pc:spChg>
        <pc:spChg chg="del">
          <ac:chgData name="Helson, Madelyn" userId="b8387ea0-a4af-45e1-9747-7dabd6c5d9bc" providerId="ADAL" clId="{29F4B563-EADC-4859-8E21-6513DD83A3EB}" dt="2022-10-27T20:44:45.674" v="5789" actId="478"/>
          <ac:spMkLst>
            <pc:docMk/>
            <pc:sldMk cId="3937499130" sldId="2150"/>
            <ac:spMk id="4" creationId="{00000000-0000-0000-0000-000000000000}"/>
          </ac:spMkLst>
        </pc:spChg>
        <pc:spChg chg="del">
          <ac:chgData name="Helson, Madelyn" userId="b8387ea0-a4af-45e1-9747-7dabd6c5d9bc" providerId="ADAL" clId="{29F4B563-EADC-4859-8E21-6513DD83A3EB}" dt="2022-10-27T20:44:38.694" v="5786" actId="478"/>
          <ac:spMkLst>
            <pc:docMk/>
            <pc:sldMk cId="3937499130" sldId="2150"/>
            <ac:spMk id="5" creationId="{00000000-0000-0000-0000-000000000000}"/>
          </ac:spMkLst>
        </pc:spChg>
        <pc:spChg chg="del">
          <ac:chgData name="Helson, Madelyn" userId="b8387ea0-a4af-45e1-9747-7dabd6c5d9bc" providerId="ADAL" clId="{29F4B563-EADC-4859-8E21-6513DD83A3EB}" dt="2022-10-27T20:44:50.797" v="5790" actId="478"/>
          <ac:spMkLst>
            <pc:docMk/>
            <pc:sldMk cId="3937499130" sldId="2150"/>
            <ac:spMk id="6" creationId="{00000000-0000-0000-0000-000000000000}"/>
          </ac:spMkLst>
        </pc:spChg>
        <pc:spChg chg="del mod">
          <ac:chgData name="Helson, Madelyn" userId="b8387ea0-a4af-45e1-9747-7dabd6c5d9bc" providerId="ADAL" clId="{29F4B563-EADC-4859-8E21-6513DD83A3EB}" dt="2022-10-27T20:45:15.785" v="5796" actId="478"/>
          <ac:spMkLst>
            <pc:docMk/>
            <pc:sldMk cId="3937499130" sldId="2150"/>
            <ac:spMk id="7" creationId="{00000000-0000-0000-0000-000000000000}"/>
          </ac:spMkLst>
        </pc:spChg>
        <pc:spChg chg="del mod">
          <ac:chgData name="Helson, Madelyn" userId="b8387ea0-a4af-45e1-9747-7dabd6c5d9bc" providerId="ADAL" clId="{29F4B563-EADC-4859-8E21-6513DD83A3EB}" dt="2022-10-27T20:45:12.328" v="5795" actId="478"/>
          <ac:spMkLst>
            <pc:docMk/>
            <pc:sldMk cId="3937499130" sldId="2150"/>
            <ac:spMk id="8" creationId="{00000000-0000-0000-0000-000000000000}"/>
          </ac:spMkLst>
        </pc:spChg>
        <pc:spChg chg="del mod">
          <ac:chgData name="Helson, Madelyn" userId="b8387ea0-a4af-45e1-9747-7dabd6c5d9bc" providerId="ADAL" clId="{29F4B563-EADC-4859-8E21-6513DD83A3EB}" dt="2022-10-27T20:45:09.546" v="5794" actId="478"/>
          <ac:spMkLst>
            <pc:docMk/>
            <pc:sldMk cId="3937499130" sldId="2150"/>
            <ac:spMk id="9" creationId="{00000000-0000-0000-0000-000000000000}"/>
          </ac:spMkLst>
        </pc:spChg>
        <pc:spChg chg="del">
          <ac:chgData name="Helson, Madelyn" userId="b8387ea0-a4af-45e1-9747-7dabd6c5d9bc" providerId="ADAL" clId="{29F4B563-EADC-4859-8E21-6513DD83A3EB}" dt="2022-10-27T20:44:50.797" v="5790" actId="478"/>
          <ac:spMkLst>
            <pc:docMk/>
            <pc:sldMk cId="3937499130" sldId="2150"/>
            <ac:spMk id="10" creationId="{00000000-0000-0000-0000-000000000000}"/>
          </ac:spMkLst>
        </pc:spChg>
        <pc:spChg chg="del">
          <ac:chgData name="Helson, Madelyn" userId="b8387ea0-a4af-45e1-9747-7dabd6c5d9bc" providerId="ADAL" clId="{29F4B563-EADC-4859-8E21-6513DD83A3EB}" dt="2022-10-27T20:44:50.797" v="5790" actId="478"/>
          <ac:spMkLst>
            <pc:docMk/>
            <pc:sldMk cId="3937499130" sldId="2150"/>
            <ac:spMk id="11" creationId="{00000000-0000-0000-0000-000000000000}"/>
          </ac:spMkLst>
        </pc:spChg>
        <pc:spChg chg="del">
          <ac:chgData name="Helson, Madelyn" userId="b8387ea0-a4af-45e1-9747-7dabd6c5d9bc" providerId="ADAL" clId="{29F4B563-EADC-4859-8E21-6513DD83A3EB}" dt="2022-10-27T20:44:50.797" v="5790" actId="478"/>
          <ac:spMkLst>
            <pc:docMk/>
            <pc:sldMk cId="3937499130" sldId="2150"/>
            <ac:spMk id="12" creationId="{00000000-0000-0000-0000-000000000000}"/>
          </ac:spMkLst>
        </pc:spChg>
        <pc:spChg chg="mod">
          <ac:chgData name="Helson, Madelyn" userId="b8387ea0-a4af-45e1-9747-7dabd6c5d9bc" providerId="ADAL" clId="{29F4B563-EADC-4859-8E21-6513DD83A3EB}" dt="2022-10-27T20:59:28.912" v="6437" actId="14100"/>
          <ac:spMkLst>
            <pc:docMk/>
            <pc:sldMk cId="3937499130" sldId="2150"/>
            <ac:spMk id="13" creationId="{00000000-0000-0000-0000-000000000000}"/>
          </ac:spMkLst>
        </pc:spChg>
        <pc:spChg chg="add del mod">
          <ac:chgData name="Helson, Madelyn" userId="b8387ea0-a4af-45e1-9747-7dabd6c5d9bc" providerId="ADAL" clId="{29F4B563-EADC-4859-8E21-6513DD83A3EB}" dt="2022-10-28T15:18:06.553" v="11599" actId="20577"/>
          <ac:spMkLst>
            <pc:docMk/>
            <pc:sldMk cId="3937499130" sldId="2150"/>
            <ac:spMk id="14" creationId="{00000000-0000-0000-0000-000000000000}"/>
          </ac:spMkLst>
        </pc:spChg>
        <pc:spChg chg="add mod">
          <ac:chgData name="Helson, Madelyn" userId="b8387ea0-a4af-45e1-9747-7dabd6c5d9bc" providerId="ADAL" clId="{29F4B563-EADC-4859-8E21-6513DD83A3EB}" dt="2022-10-28T14:19:16.289" v="10830" actId="20577"/>
          <ac:spMkLst>
            <pc:docMk/>
            <pc:sldMk cId="3937499130" sldId="2150"/>
            <ac:spMk id="16" creationId="{C18FE701-D9B6-40AE-BC5E-FA80580C3070}"/>
          </ac:spMkLst>
        </pc:spChg>
        <pc:spChg chg="add mod">
          <ac:chgData name="Helson, Madelyn" userId="b8387ea0-a4af-45e1-9747-7dabd6c5d9bc" providerId="ADAL" clId="{29F4B563-EADC-4859-8E21-6513DD83A3EB}" dt="2022-10-28T14:19:20.264" v="10832" actId="20577"/>
          <ac:spMkLst>
            <pc:docMk/>
            <pc:sldMk cId="3937499130" sldId="2150"/>
            <ac:spMk id="17" creationId="{46FB1A2A-9F78-424F-9270-B267EA2CABB3}"/>
          </ac:spMkLst>
        </pc:spChg>
        <pc:spChg chg="add mod">
          <ac:chgData name="Helson, Madelyn" userId="b8387ea0-a4af-45e1-9747-7dabd6c5d9bc" providerId="ADAL" clId="{29F4B563-EADC-4859-8E21-6513DD83A3EB}" dt="2022-10-28T14:19:23.689" v="10834" actId="20577"/>
          <ac:spMkLst>
            <pc:docMk/>
            <pc:sldMk cId="3937499130" sldId="2150"/>
            <ac:spMk id="18" creationId="{8D20B06F-5508-48E6-A4BE-A0E73762070B}"/>
          </ac:spMkLst>
        </pc:spChg>
        <pc:spChg chg="add del mod">
          <ac:chgData name="Helson, Madelyn" userId="b8387ea0-a4af-45e1-9747-7dabd6c5d9bc" providerId="ADAL" clId="{29F4B563-EADC-4859-8E21-6513DD83A3EB}" dt="2022-10-28T11:47:36.093" v="6631" actId="478"/>
          <ac:spMkLst>
            <pc:docMk/>
            <pc:sldMk cId="3937499130" sldId="2150"/>
            <ac:spMk id="19" creationId="{33594260-C345-4C62-B344-C01E1AC90F21}"/>
          </ac:spMkLst>
        </pc:spChg>
        <pc:spChg chg="add del mod">
          <ac:chgData name="Helson, Madelyn" userId="b8387ea0-a4af-45e1-9747-7dabd6c5d9bc" providerId="ADAL" clId="{29F4B563-EADC-4859-8E21-6513DD83A3EB}" dt="2022-10-28T11:47:01.404" v="6627" actId="478"/>
          <ac:spMkLst>
            <pc:docMk/>
            <pc:sldMk cId="3937499130" sldId="2150"/>
            <ac:spMk id="20" creationId="{071DE5D5-B7BD-49FB-BAF1-8A1510712131}"/>
          </ac:spMkLst>
        </pc:spChg>
        <pc:spChg chg="add del mod">
          <ac:chgData name="Helson, Madelyn" userId="b8387ea0-a4af-45e1-9747-7dabd6c5d9bc" providerId="ADAL" clId="{29F4B563-EADC-4859-8E21-6513DD83A3EB}" dt="2022-10-28T11:50:53.733" v="6673" actId="478"/>
          <ac:spMkLst>
            <pc:docMk/>
            <pc:sldMk cId="3937499130" sldId="2150"/>
            <ac:spMk id="21" creationId="{E970FD58-D06F-4502-A9C0-7703B594908C}"/>
          </ac:spMkLst>
        </pc:spChg>
        <pc:spChg chg="add del mod">
          <ac:chgData name="Helson, Madelyn" userId="b8387ea0-a4af-45e1-9747-7dabd6c5d9bc" providerId="ADAL" clId="{29F4B563-EADC-4859-8E21-6513DD83A3EB}" dt="2022-10-27T20:54:36.872" v="6350"/>
          <ac:spMkLst>
            <pc:docMk/>
            <pc:sldMk cId="3937499130" sldId="2150"/>
            <ac:spMk id="22" creationId="{1DB1F010-5388-4DCE-BDD7-57BF55C5582C}"/>
          </ac:spMkLst>
        </pc:spChg>
        <pc:spChg chg="add del mod">
          <ac:chgData name="Helson, Madelyn" userId="b8387ea0-a4af-45e1-9747-7dabd6c5d9bc" providerId="ADAL" clId="{29F4B563-EADC-4859-8E21-6513DD83A3EB}" dt="2022-10-27T20:55:53.938" v="6370"/>
          <ac:spMkLst>
            <pc:docMk/>
            <pc:sldMk cId="3937499130" sldId="2150"/>
            <ac:spMk id="23" creationId="{F4A56C82-E886-4A62-8247-36045DD845ED}"/>
          </ac:spMkLst>
        </pc:spChg>
        <pc:spChg chg="add mod">
          <ac:chgData name="Helson, Madelyn" userId="b8387ea0-a4af-45e1-9747-7dabd6c5d9bc" providerId="ADAL" clId="{29F4B563-EADC-4859-8E21-6513DD83A3EB}" dt="2022-10-28T14:19:47.356" v="10838" actId="113"/>
          <ac:spMkLst>
            <pc:docMk/>
            <pc:sldMk cId="3937499130" sldId="2150"/>
            <ac:spMk id="24" creationId="{A97B0196-5DA5-49C1-96CD-8E9BBC272EC2}"/>
          </ac:spMkLst>
        </pc:spChg>
        <pc:spChg chg="add mod">
          <ac:chgData name="Helson, Madelyn" userId="b8387ea0-a4af-45e1-9747-7dabd6c5d9bc" providerId="ADAL" clId="{29F4B563-EADC-4859-8E21-6513DD83A3EB}" dt="2022-10-28T12:33:43.015" v="8678" actId="1076"/>
          <ac:spMkLst>
            <pc:docMk/>
            <pc:sldMk cId="3937499130" sldId="2150"/>
            <ac:spMk id="25" creationId="{3FA1FB7B-9223-48D3-B10E-90B7AA91E332}"/>
          </ac:spMkLst>
        </pc:spChg>
        <pc:spChg chg="add mod">
          <ac:chgData name="Helson, Madelyn" userId="b8387ea0-a4af-45e1-9747-7dabd6c5d9bc" providerId="ADAL" clId="{29F4B563-EADC-4859-8E21-6513DD83A3EB}" dt="2022-10-28T12:33:35.426" v="8677" actId="1076"/>
          <ac:spMkLst>
            <pc:docMk/>
            <pc:sldMk cId="3937499130" sldId="2150"/>
            <ac:spMk id="26" creationId="{5B326E7C-9F0E-4BE6-96C2-D19A360CCB22}"/>
          </ac:spMkLst>
        </pc:spChg>
        <pc:spChg chg="add mod">
          <ac:chgData name="Helson, Madelyn" userId="b8387ea0-a4af-45e1-9747-7dabd6c5d9bc" providerId="ADAL" clId="{29F4B563-EADC-4859-8E21-6513DD83A3EB}" dt="2022-10-28T15:04:14.948" v="11557" actId="1076"/>
          <ac:spMkLst>
            <pc:docMk/>
            <pc:sldMk cId="3937499130" sldId="2150"/>
            <ac:spMk id="27" creationId="{A5DA9DF0-1AF4-4CDF-8C25-17BD5C5D334A}"/>
          </ac:spMkLst>
        </pc:spChg>
        <pc:spChg chg="add mod">
          <ac:chgData name="Helson, Madelyn" userId="b8387ea0-a4af-45e1-9747-7dabd6c5d9bc" providerId="ADAL" clId="{29F4B563-EADC-4859-8E21-6513DD83A3EB}" dt="2022-10-28T15:48:05.955" v="11964"/>
          <ac:spMkLst>
            <pc:docMk/>
            <pc:sldMk cId="3937499130" sldId="2150"/>
            <ac:spMk id="28" creationId="{BBBAE1CF-B3A3-4DF0-A542-5485391593E9}"/>
          </ac:spMkLst>
        </pc:spChg>
        <pc:spChg chg="add mod">
          <ac:chgData name="Helson, Madelyn" userId="b8387ea0-a4af-45e1-9747-7dabd6c5d9bc" providerId="ADAL" clId="{29F4B563-EADC-4859-8E21-6513DD83A3EB}" dt="2022-10-28T15:48:12.628" v="11966" actId="1076"/>
          <ac:spMkLst>
            <pc:docMk/>
            <pc:sldMk cId="3937499130" sldId="2150"/>
            <ac:spMk id="29" creationId="{AFAE966B-F677-4158-A09D-EB410313F3ED}"/>
          </ac:spMkLst>
        </pc:spChg>
        <pc:grpChg chg="add del mod">
          <ac:chgData name="Helson, Madelyn" userId="b8387ea0-a4af-45e1-9747-7dabd6c5d9bc" providerId="ADAL" clId="{29F4B563-EADC-4859-8E21-6513DD83A3EB}" dt="2022-10-28T12:33:11.363" v="8675" actId="1076"/>
          <ac:grpSpMkLst>
            <pc:docMk/>
            <pc:sldMk cId="3937499130" sldId="2150"/>
            <ac:grpSpMk id="15" creationId="{C12244FE-ED7C-497C-9C7C-7972766C916D}"/>
          </ac:grpSpMkLst>
        </pc:grpChg>
      </pc:sldChg>
      <pc:sldChg chg="addSp delSp modSp add mod ord">
        <pc:chgData name="Helson, Madelyn" userId="b8387ea0-a4af-45e1-9747-7dabd6c5d9bc" providerId="ADAL" clId="{29F4B563-EADC-4859-8E21-6513DD83A3EB}" dt="2022-10-28T15:35:23.614" v="11825" actId="20577"/>
        <pc:sldMkLst>
          <pc:docMk/>
          <pc:sldMk cId="1558825468" sldId="2151"/>
        </pc:sldMkLst>
        <pc:spChg chg="add del mod">
          <ac:chgData name="Helson, Madelyn" userId="b8387ea0-a4af-45e1-9747-7dabd6c5d9bc" providerId="ADAL" clId="{29F4B563-EADC-4859-8E21-6513DD83A3EB}" dt="2022-10-28T14:07:54.943" v="10439" actId="478"/>
          <ac:spMkLst>
            <pc:docMk/>
            <pc:sldMk cId="1558825468" sldId="2151"/>
            <ac:spMk id="2" creationId="{AEE9DE6A-40E9-4713-8DAC-9B9D69D9D88B}"/>
          </ac:spMkLst>
        </pc:spChg>
        <pc:spChg chg="add mod">
          <ac:chgData name="Helson, Madelyn" userId="b8387ea0-a4af-45e1-9747-7dabd6c5d9bc" providerId="ADAL" clId="{29F4B563-EADC-4859-8E21-6513DD83A3EB}" dt="2022-10-28T15:35:23.614" v="11825" actId="20577"/>
          <ac:spMkLst>
            <pc:docMk/>
            <pc:sldMk cId="1558825468" sldId="2151"/>
            <ac:spMk id="7" creationId="{8C783F1E-036F-4202-9BD1-9F0B6ADEEFBA}"/>
          </ac:spMkLst>
        </pc:spChg>
        <pc:spChg chg="add mod">
          <ac:chgData name="Helson, Madelyn" userId="b8387ea0-a4af-45e1-9747-7dabd6c5d9bc" providerId="ADAL" clId="{29F4B563-EADC-4859-8E21-6513DD83A3EB}" dt="2022-10-28T15:34:23.701" v="11816" actId="14100"/>
          <ac:spMkLst>
            <pc:docMk/>
            <pc:sldMk cId="1558825468" sldId="2151"/>
            <ac:spMk id="11" creationId="{32EB5E82-8C56-4585-A4BA-4689806B5AF4}"/>
          </ac:spMkLst>
        </pc:spChg>
        <pc:spChg chg="mod">
          <ac:chgData name="Helson, Madelyn" userId="b8387ea0-a4af-45e1-9747-7dabd6c5d9bc" providerId="ADAL" clId="{29F4B563-EADC-4859-8E21-6513DD83A3EB}" dt="2022-10-28T14:17:21.576" v="10655" actId="20577"/>
          <ac:spMkLst>
            <pc:docMk/>
            <pc:sldMk cId="1558825468" sldId="2151"/>
            <ac:spMk id="37" creationId="{4E5B019D-6BC1-4570-9FB3-D8F79C703418}"/>
          </ac:spMkLst>
        </pc:spChg>
        <pc:spChg chg="mod">
          <ac:chgData name="Helson, Madelyn" userId="b8387ea0-a4af-45e1-9747-7dabd6c5d9bc" providerId="ADAL" clId="{29F4B563-EADC-4859-8E21-6513DD83A3EB}" dt="2022-10-28T14:10:53" v="10501" actId="20577"/>
          <ac:spMkLst>
            <pc:docMk/>
            <pc:sldMk cId="1558825468" sldId="2151"/>
            <ac:spMk id="38" creationId="{EEAA6AD0-46E1-4E03-897D-991B591A3AD5}"/>
          </ac:spMkLst>
        </pc:spChg>
        <pc:picChg chg="add mod">
          <ac:chgData name="Helson, Madelyn" userId="b8387ea0-a4af-45e1-9747-7dabd6c5d9bc" providerId="ADAL" clId="{29F4B563-EADC-4859-8E21-6513DD83A3EB}" dt="2022-10-28T14:20:53.081" v="10854" actId="1076"/>
          <ac:picMkLst>
            <pc:docMk/>
            <pc:sldMk cId="1558825468" sldId="2151"/>
            <ac:picMk id="4" creationId="{E3AA3A18-63AC-498D-8EB4-86A72E5A57E3}"/>
          </ac:picMkLst>
        </pc:picChg>
        <pc:picChg chg="add mod">
          <ac:chgData name="Helson, Madelyn" userId="b8387ea0-a4af-45e1-9747-7dabd6c5d9bc" providerId="ADAL" clId="{29F4B563-EADC-4859-8E21-6513DD83A3EB}" dt="2022-10-28T14:21:07.442" v="10858" actId="14100"/>
          <ac:picMkLst>
            <pc:docMk/>
            <pc:sldMk cId="1558825468" sldId="2151"/>
            <ac:picMk id="6" creationId="{3E02AEB6-1305-473A-B66F-BE3BD033FF1A}"/>
          </ac:picMkLst>
        </pc:picChg>
        <pc:picChg chg="del">
          <ac:chgData name="Helson, Madelyn" userId="b8387ea0-a4af-45e1-9747-7dabd6c5d9bc" providerId="ADAL" clId="{29F4B563-EADC-4859-8E21-6513DD83A3EB}" dt="2022-10-28T12:37:14.931" v="8781" actId="478"/>
          <ac:picMkLst>
            <pc:docMk/>
            <pc:sldMk cId="1558825468" sldId="2151"/>
            <ac:picMk id="1027" creationId="{C39806A0-C3EC-4D91-B7FF-8202A18A8A59}"/>
          </ac:picMkLst>
        </pc:picChg>
      </pc:sldChg>
      <pc:sldChg chg="modSp add del mod ord modShow">
        <pc:chgData name="Helson, Madelyn" userId="b8387ea0-a4af-45e1-9747-7dabd6c5d9bc" providerId="ADAL" clId="{29F4B563-EADC-4859-8E21-6513DD83A3EB}" dt="2022-10-28T16:32:21.553" v="11990" actId="729"/>
        <pc:sldMkLst>
          <pc:docMk/>
          <pc:sldMk cId="2925827405" sldId="2152"/>
        </pc:sldMkLst>
        <pc:spChg chg="mod">
          <ac:chgData name="Helson, Madelyn" userId="b8387ea0-a4af-45e1-9747-7dabd6c5d9bc" providerId="ADAL" clId="{29F4B563-EADC-4859-8E21-6513DD83A3EB}" dt="2022-10-28T13:51:48.978" v="10329" actId="20577"/>
          <ac:spMkLst>
            <pc:docMk/>
            <pc:sldMk cId="2925827405" sldId="2152"/>
            <ac:spMk id="38" creationId="{EEAA6AD0-46E1-4E03-897D-991B591A3AD5}"/>
          </ac:spMkLst>
        </pc:spChg>
      </pc:sldChg>
      <pc:sldMasterChg chg="delSldLayout">
        <pc:chgData name="Helson, Madelyn" userId="b8387ea0-a4af-45e1-9747-7dabd6c5d9bc" providerId="ADAL" clId="{29F4B563-EADC-4859-8E21-6513DD83A3EB}" dt="2022-10-28T16:31:14.297" v="11969" actId="47"/>
        <pc:sldMasterMkLst>
          <pc:docMk/>
          <pc:sldMasterMk cId="920834385" sldId="2147483660"/>
        </pc:sldMasterMkLst>
        <pc:sldLayoutChg chg="del">
          <pc:chgData name="Helson, Madelyn" userId="b8387ea0-a4af-45e1-9747-7dabd6c5d9bc" providerId="ADAL" clId="{29F4B563-EADC-4859-8E21-6513DD83A3EB}" dt="2022-10-28T16:31:14.297" v="11969" actId="47"/>
          <pc:sldLayoutMkLst>
            <pc:docMk/>
            <pc:sldMasterMk cId="920834385" sldId="2147483660"/>
            <pc:sldLayoutMk cId="3968862935" sldId="2147483803"/>
          </pc:sldLayoutMkLst>
        </pc:sldLayoutChg>
      </pc:sldMasterChg>
      <pc:sldMasterChg chg="del delSldLayout">
        <pc:chgData name="Helson, Madelyn" userId="b8387ea0-a4af-45e1-9747-7dabd6c5d9bc" providerId="ADAL" clId="{29F4B563-EADC-4859-8E21-6513DD83A3EB}" dt="2022-10-28T16:31:16.167" v="11972" actId="47"/>
        <pc:sldMasterMkLst>
          <pc:docMk/>
          <pc:sldMasterMk cId="284314742" sldId="2147483688"/>
        </pc:sldMasterMkLst>
        <pc:sldLayoutChg chg="del">
          <pc:chgData name="Helson, Madelyn" userId="b8387ea0-a4af-45e1-9747-7dabd6c5d9bc" providerId="ADAL" clId="{29F4B563-EADC-4859-8E21-6513DD83A3EB}" dt="2022-10-28T16:31:16.167" v="11972" actId="47"/>
          <pc:sldLayoutMkLst>
            <pc:docMk/>
            <pc:sldMasterMk cId="284314742" sldId="2147483688"/>
            <pc:sldLayoutMk cId="3922997951" sldId="2147483689"/>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47834016" sldId="2147483690"/>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38979445" sldId="2147483691"/>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367601750" sldId="2147483692"/>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15545476" sldId="2147483693"/>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612476389" sldId="2147483694"/>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1380052533" sldId="2147483695"/>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360070573" sldId="2147483696"/>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02960502" sldId="2147483697"/>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233561377" sldId="2147483698"/>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901566553" sldId="2147483699"/>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3677630344" sldId="2147483700"/>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292768668" sldId="2147483701"/>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1386104922" sldId="2147483702"/>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1063022932" sldId="2147483703"/>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103760371" sldId="2147483704"/>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768573252" sldId="2147483705"/>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4079204326" sldId="2147483706"/>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784777602" sldId="2147483707"/>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664513380" sldId="2147483708"/>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585078792" sldId="2147483709"/>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2949397784" sldId="2147483710"/>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1533066540" sldId="2147483711"/>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3303396564" sldId="2147483712"/>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1329189596" sldId="2147483713"/>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697107053" sldId="2147483714"/>
          </pc:sldLayoutMkLst>
        </pc:sldLayoutChg>
        <pc:sldLayoutChg chg="del">
          <pc:chgData name="Helson, Madelyn" userId="b8387ea0-a4af-45e1-9747-7dabd6c5d9bc" providerId="ADAL" clId="{29F4B563-EADC-4859-8E21-6513DD83A3EB}" dt="2022-10-28T16:31:16.167" v="11972" actId="47"/>
          <pc:sldLayoutMkLst>
            <pc:docMk/>
            <pc:sldMasterMk cId="284314742" sldId="2147483688"/>
            <pc:sldLayoutMk cId="3833846355" sldId="2147483715"/>
          </pc:sldLayoutMkLst>
        </pc:sldLayoutChg>
      </pc:sldMasterChg>
      <pc:sldMasterChg chg="add del addSldLayout delSldLayout">
        <pc:chgData name="Helson, Madelyn" userId="b8387ea0-a4af-45e1-9747-7dabd6c5d9bc" providerId="ADAL" clId="{29F4B563-EADC-4859-8E21-6513DD83A3EB}" dt="2022-10-28T16:32:31.883" v="11994" actId="47"/>
        <pc:sldMasterMkLst>
          <pc:docMk/>
          <pc:sldMasterMk cId="356291704" sldId="2147483744"/>
        </pc:sldMasterMkLst>
        <pc:sldLayoutChg chg="add del">
          <pc:chgData name="Helson, Madelyn" userId="b8387ea0-a4af-45e1-9747-7dabd6c5d9bc" providerId="ADAL" clId="{29F4B563-EADC-4859-8E21-6513DD83A3EB}" dt="2022-10-28T16:32:31.883" v="11994" actId="47"/>
          <pc:sldLayoutMkLst>
            <pc:docMk/>
            <pc:sldMasterMk cId="356291704" sldId="2147483744"/>
            <pc:sldLayoutMk cId="835375197" sldId="2147483745"/>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812624847" sldId="2147483746"/>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243785482" sldId="2147483747"/>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581234648" sldId="2147483748"/>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620398821" sldId="2147483749"/>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898389243" sldId="2147483750"/>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428516920" sldId="2147483751"/>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159848375" sldId="2147483752"/>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999081368" sldId="2147483753"/>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966688132" sldId="2147483754"/>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19914" sldId="2147483755"/>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421730454" sldId="2147483756"/>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65473233" sldId="2147483757"/>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884926580" sldId="2147483758"/>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434360991" sldId="2147483759"/>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233367846" sldId="2147483760"/>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911764341" sldId="2147483761"/>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900916538" sldId="2147483762"/>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610077407" sldId="2147483763"/>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39178491" sldId="2147483764"/>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488778887" sldId="2147483765"/>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841226892" sldId="2147483766"/>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362198267" sldId="2147483767"/>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532295161" sldId="2147483768"/>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252185269" sldId="2147483769"/>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3576010654" sldId="2147483770"/>
          </pc:sldLayoutMkLst>
        </pc:sldLayoutChg>
        <pc:sldLayoutChg chg="add del">
          <pc:chgData name="Helson, Madelyn" userId="b8387ea0-a4af-45e1-9747-7dabd6c5d9bc" providerId="ADAL" clId="{29F4B563-EADC-4859-8E21-6513DD83A3EB}" dt="2022-10-28T16:32:31.883" v="11994" actId="47"/>
          <pc:sldLayoutMkLst>
            <pc:docMk/>
            <pc:sldMasterMk cId="356291704" sldId="2147483744"/>
            <pc:sldLayoutMk cId="1746447728" sldId="2147483771"/>
          </pc:sldLayoutMkLst>
        </pc:sldLayoutChg>
      </pc:sldMasterChg>
      <pc:sldMasterChg chg="add del addSldLayout delSldLayout">
        <pc:chgData name="Helson, Madelyn" userId="b8387ea0-a4af-45e1-9747-7dabd6c5d9bc" providerId="ADAL" clId="{29F4B563-EADC-4859-8E21-6513DD83A3EB}" dt="2022-10-28T16:32:23.342" v="11991" actId="47"/>
        <pc:sldMasterMkLst>
          <pc:docMk/>
          <pc:sldMasterMk cId="915016930" sldId="2147483772"/>
        </pc:sldMasterMkLst>
        <pc:sldLayoutChg chg="add del">
          <pc:chgData name="Helson, Madelyn" userId="b8387ea0-a4af-45e1-9747-7dabd6c5d9bc" providerId="ADAL" clId="{29F4B563-EADC-4859-8E21-6513DD83A3EB}" dt="2022-10-28T16:32:23.342" v="11991" actId="47"/>
          <pc:sldLayoutMkLst>
            <pc:docMk/>
            <pc:sldMasterMk cId="915016930" sldId="2147483772"/>
            <pc:sldLayoutMk cId="959711316" sldId="2147483773"/>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887192646" sldId="2147483774"/>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097912014" sldId="2147483775"/>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585807006" sldId="2147483776"/>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76670493" sldId="2147483777"/>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195860085" sldId="2147483778"/>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2840601218" sldId="2147483779"/>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273767095" sldId="2147483780"/>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707205007" sldId="2147483781"/>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4159369257" sldId="2147483782"/>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100445744" sldId="2147483783"/>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801186299" sldId="2147483784"/>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537821755" sldId="2147483785"/>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743772676" sldId="2147483786"/>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443166725" sldId="2147483787"/>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2044344127" sldId="2147483788"/>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922955268" sldId="2147483790"/>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4256237586" sldId="2147483791"/>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524994984" sldId="2147483792"/>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495265106" sldId="2147483793"/>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76334606" sldId="2147483794"/>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897029950" sldId="2147483795"/>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4066527227" sldId="2147483796"/>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2650415623" sldId="2147483797"/>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948674849" sldId="2147483798"/>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3254936048" sldId="2147483799"/>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072314487" sldId="2147483800"/>
          </pc:sldLayoutMkLst>
        </pc:sldLayoutChg>
        <pc:sldLayoutChg chg="add del">
          <pc:chgData name="Helson, Madelyn" userId="b8387ea0-a4af-45e1-9747-7dabd6c5d9bc" providerId="ADAL" clId="{29F4B563-EADC-4859-8E21-6513DD83A3EB}" dt="2022-10-28T16:32:23.342" v="11991" actId="47"/>
          <pc:sldLayoutMkLst>
            <pc:docMk/>
            <pc:sldMasterMk cId="915016930" sldId="2147483772"/>
            <pc:sldLayoutMk cId="1317853775" sldId="2147483801"/>
          </pc:sldLayoutMkLst>
        </pc:sldLayoutChg>
      </pc:sldMasterChg>
      <pc:sldMasterChg chg="add del addSldLayout delSldLayout">
        <pc:chgData name="Helson, Madelyn" userId="b8387ea0-a4af-45e1-9747-7dabd6c5d9bc" providerId="ADAL" clId="{29F4B563-EADC-4859-8E21-6513DD83A3EB}" dt="2022-10-28T16:32:29.333" v="11993" actId="47"/>
        <pc:sldMasterMkLst>
          <pc:docMk/>
          <pc:sldMasterMk cId="4188197092" sldId="2147483832"/>
        </pc:sldMasterMkLst>
        <pc:sldLayoutChg chg="add del">
          <pc:chgData name="Helson, Madelyn" userId="b8387ea0-a4af-45e1-9747-7dabd6c5d9bc" providerId="ADAL" clId="{29F4B563-EADC-4859-8E21-6513DD83A3EB}" dt="2022-10-28T16:32:29.333" v="11993" actId="47"/>
          <pc:sldLayoutMkLst>
            <pc:docMk/>
            <pc:sldMasterMk cId="4188197092" sldId="2147483832"/>
            <pc:sldLayoutMk cId="2070838516" sldId="2147483833"/>
          </pc:sldLayoutMkLst>
        </pc:sldLayoutChg>
        <pc:sldLayoutChg chg="add del">
          <pc:chgData name="Helson, Madelyn" userId="b8387ea0-a4af-45e1-9747-7dabd6c5d9bc" providerId="ADAL" clId="{29F4B563-EADC-4859-8E21-6513DD83A3EB}" dt="2022-10-28T16:32:29.333" v="11993" actId="47"/>
          <pc:sldLayoutMkLst>
            <pc:docMk/>
            <pc:sldMasterMk cId="4188197092" sldId="2147483832"/>
            <pc:sldLayoutMk cId="3008059190" sldId="2147483834"/>
          </pc:sldLayoutMkLst>
        </pc:sldLayoutChg>
        <pc:sldLayoutChg chg="add del">
          <pc:chgData name="Helson, Madelyn" userId="b8387ea0-a4af-45e1-9747-7dabd6c5d9bc" providerId="ADAL" clId="{29F4B563-EADC-4859-8E21-6513DD83A3EB}" dt="2022-10-28T16:32:29.333" v="11993" actId="47"/>
          <pc:sldLayoutMkLst>
            <pc:docMk/>
            <pc:sldMasterMk cId="4188197092" sldId="2147483832"/>
            <pc:sldLayoutMk cId="3904126780" sldId="2147483835"/>
          </pc:sldLayoutMkLst>
        </pc:sldLayoutChg>
        <pc:sldLayoutChg chg="add del">
          <pc:chgData name="Helson, Madelyn" userId="b8387ea0-a4af-45e1-9747-7dabd6c5d9bc" providerId="ADAL" clId="{29F4B563-EADC-4859-8E21-6513DD83A3EB}" dt="2022-10-28T16:32:29.333" v="11993" actId="47"/>
          <pc:sldLayoutMkLst>
            <pc:docMk/>
            <pc:sldMasterMk cId="4188197092" sldId="2147483832"/>
            <pc:sldLayoutMk cId="1403147119" sldId="2147483836"/>
          </pc:sldLayoutMkLst>
        </pc:sldLayoutChg>
        <pc:sldLayoutChg chg="add del">
          <pc:chgData name="Helson, Madelyn" userId="b8387ea0-a4af-45e1-9747-7dabd6c5d9bc" providerId="ADAL" clId="{29F4B563-EADC-4859-8E21-6513DD83A3EB}" dt="2022-10-28T16:32:29.333" v="11993" actId="47"/>
          <pc:sldLayoutMkLst>
            <pc:docMk/>
            <pc:sldMasterMk cId="4188197092" sldId="2147483832"/>
            <pc:sldLayoutMk cId="3987821019" sldId="2147483837"/>
          </pc:sldLayoutMkLst>
        </pc:sldLayoutChg>
        <pc:sldLayoutChg chg="add del">
          <pc:chgData name="Helson, Madelyn" userId="b8387ea0-a4af-45e1-9747-7dabd6c5d9bc" providerId="ADAL" clId="{29F4B563-EADC-4859-8E21-6513DD83A3EB}" dt="2022-10-28T16:32:29.333" v="11993" actId="47"/>
          <pc:sldLayoutMkLst>
            <pc:docMk/>
            <pc:sldMasterMk cId="4188197092" sldId="2147483832"/>
            <pc:sldLayoutMk cId="2956313233" sldId="2147483838"/>
          </pc:sldLayoutMkLst>
        </pc:sldLayoutChg>
      </pc:sldMasterChg>
    </pc:docChg>
  </pc:docChgLst>
  <pc:docChgLst>
    <pc:chgData name="Elsaker, Sheri" userId="03aeeb51-71af-4ec0-ba02-b4548e55d73c" providerId="ADAL" clId="{1514E898-93AE-43E9-A31B-1164B4C54D66}"/>
    <pc:docChg chg="undo redo custSel addSld delSld modSld sldOrd delMainMaster">
      <pc:chgData name="Elsaker, Sheri" userId="03aeeb51-71af-4ec0-ba02-b4548e55d73c" providerId="ADAL" clId="{1514E898-93AE-43E9-A31B-1164B4C54D66}" dt="2022-10-28T17:55:43.581" v="8795" actId="20577"/>
      <pc:docMkLst>
        <pc:docMk/>
      </pc:docMkLst>
      <pc:sldChg chg="modSp del mod">
        <pc:chgData name="Elsaker, Sheri" userId="03aeeb51-71af-4ec0-ba02-b4548e55d73c" providerId="ADAL" clId="{1514E898-93AE-43E9-A31B-1164B4C54D66}" dt="2022-10-25T13:23:48.545" v="192" actId="47"/>
        <pc:sldMkLst>
          <pc:docMk/>
          <pc:sldMk cId="2029720713" sldId="256"/>
        </pc:sldMkLst>
        <pc:spChg chg="mod">
          <ac:chgData name="Elsaker, Sheri" userId="03aeeb51-71af-4ec0-ba02-b4548e55d73c" providerId="ADAL" clId="{1514E898-93AE-43E9-A31B-1164B4C54D66}" dt="2022-10-25T13:11:15.652" v="31" actId="20577"/>
          <ac:spMkLst>
            <pc:docMk/>
            <pc:sldMk cId="2029720713" sldId="256"/>
            <ac:spMk id="2" creationId="{9ABF6B13-5985-4C6C-8012-808F7B4E34AF}"/>
          </ac:spMkLst>
        </pc:spChg>
      </pc:sldChg>
      <pc:sldChg chg="addSp modSp new mod ord">
        <pc:chgData name="Elsaker, Sheri" userId="03aeeb51-71af-4ec0-ba02-b4548e55d73c" providerId="ADAL" clId="{1514E898-93AE-43E9-A31B-1164B4C54D66}" dt="2022-10-25T18:45:50.083" v="2972" actId="207"/>
        <pc:sldMkLst>
          <pc:docMk/>
          <pc:sldMk cId="2600026302" sldId="257"/>
        </pc:sldMkLst>
        <pc:spChg chg="add mod">
          <ac:chgData name="Elsaker, Sheri" userId="03aeeb51-71af-4ec0-ba02-b4548e55d73c" providerId="ADAL" clId="{1514E898-93AE-43E9-A31B-1164B4C54D66}" dt="2022-10-25T18:45:50.083" v="2972" actId="207"/>
          <ac:spMkLst>
            <pc:docMk/>
            <pc:sldMk cId="2600026302" sldId="257"/>
            <ac:spMk id="2" creationId="{66591E41-BC50-46CA-874B-6579FDFD2C86}"/>
          </ac:spMkLst>
        </pc:spChg>
      </pc:sldChg>
      <pc:sldChg chg="del ord">
        <pc:chgData name="Elsaker, Sheri" userId="03aeeb51-71af-4ec0-ba02-b4548e55d73c" providerId="ADAL" clId="{1514E898-93AE-43E9-A31B-1164B4C54D66}" dt="2022-10-25T19:12:23.236" v="3546"/>
        <pc:sldMkLst>
          <pc:docMk/>
          <pc:sldMk cId="496745728" sldId="460"/>
        </pc:sldMkLst>
      </pc:sldChg>
      <pc:sldChg chg="modSp mod">
        <pc:chgData name="Elsaker, Sheri" userId="03aeeb51-71af-4ec0-ba02-b4548e55d73c" providerId="ADAL" clId="{1514E898-93AE-43E9-A31B-1164B4C54D66}" dt="2022-10-25T13:24:46.730" v="204" actId="207"/>
        <pc:sldMkLst>
          <pc:docMk/>
          <pc:sldMk cId="903271488" sldId="668"/>
        </pc:sldMkLst>
        <pc:spChg chg="mod">
          <ac:chgData name="Elsaker, Sheri" userId="03aeeb51-71af-4ec0-ba02-b4548e55d73c" providerId="ADAL" clId="{1514E898-93AE-43E9-A31B-1164B4C54D66}" dt="2022-10-25T13:24:46.730" v="204" actId="207"/>
          <ac:spMkLst>
            <pc:docMk/>
            <pc:sldMk cId="903271488" sldId="668"/>
            <ac:spMk id="23" creationId="{F9DECBF3-53D4-444F-AC54-88556B6EDE19}"/>
          </ac:spMkLst>
        </pc:spChg>
      </pc:sldChg>
      <pc:sldChg chg="addSp modSp mod modNotesTx">
        <pc:chgData name="Elsaker, Sheri" userId="03aeeb51-71af-4ec0-ba02-b4548e55d73c" providerId="ADAL" clId="{1514E898-93AE-43E9-A31B-1164B4C54D66}" dt="2022-10-27T15:23:40.500" v="7503" actId="20577"/>
        <pc:sldMkLst>
          <pc:docMk/>
          <pc:sldMk cId="3767364715" sldId="698"/>
        </pc:sldMkLst>
        <pc:spChg chg="mod">
          <ac:chgData name="Elsaker, Sheri" userId="03aeeb51-71af-4ec0-ba02-b4548e55d73c" providerId="ADAL" clId="{1514E898-93AE-43E9-A31B-1164B4C54D66}" dt="2022-10-27T12:11:15.773" v="4375" actId="20577"/>
          <ac:spMkLst>
            <pc:docMk/>
            <pc:sldMk cId="3767364715" sldId="698"/>
            <ac:spMk id="2" creationId="{00000000-0000-0000-0000-000000000000}"/>
          </ac:spMkLst>
        </pc:spChg>
        <pc:spChg chg="mod">
          <ac:chgData name="Elsaker, Sheri" userId="03aeeb51-71af-4ec0-ba02-b4548e55d73c" providerId="ADAL" clId="{1514E898-93AE-43E9-A31B-1164B4C54D66}" dt="2022-10-25T13:32:15.459" v="320" actId="20577"/>
          <ac:spMkLst>
            <pc:docMk/>
            <pc:sldMk cId="3767364715" sldId="698"/>
            <ac:spMk id="3" creationId="{00000000-0000-0000-0000-000000000000}"/>
          </ac:spMkLst>
        </pc:spChg>
        <pc:spChg chg="add mod">
          <ac:chgData name="Elsaker, Sheri" userId="03aeeb51-71af-4ec0-ba02-b4548e55d73c" providerId="ADAL" clId="{1514E898-93AE-43E9-A31B-1164B4C54D66}" dt="2022-10-27T12:09:46.262" v="4256" actId="255"/>
          <ac:spMkLst>
            <pc:docMk/>
            <pc:sldMk cId="3767364715" sldId="698"/>
            <ac:spMk id="16" creationId="{CDDA684C-0673-4188-A7F3-4B07A908F3B3}"/>
          </ac:spMkLst>
        </pc:spChg>
        <pc:spChg chg="add mod">
          <ac:chgData name="Elsaker, Sheri" userId="03aeeb51-71af-4ec0-ba02-b4548e55d73c" providerId="ADAL" clId="{1514E898-93AE-43E9-A31B-1164B4C54D66}" dt="2022-10-25T13:36:02.971" v="437" actId="207"/>
          <ac:spMkLst>
            <pc:docMk/>
            <pc:sldMk cId="3767364715" sldId="698"/>
            <ac:spMk id="17" creationId="{657D6539-30AD-4BF6-8DAE-2B410C5BD735}"/>
          </ac:spMkLst>
        </pc:spChg>
        <pc:spChg chg="add mod">
          <ac:chgData name="Elsaker, Sheri" userId="03aeeb51-71af-4ec0-ba02-b4548e55d73c" providerId="ADAL" clId="{1514E898-93AE-43E9-A31B-1164B4C54D66}" dt="2022-10-25T13:36:31.787" v="438" actId="207"/>
          <ac:spMkLst>
            <pc:docMk/>
            <pc:sldMk cId="3767364715" sldId="698"/>
            <ac:spMk id="18" creationId="{903BF98A-6046-40F6-9A43-F53C5A1EA058}"/>
          </ac:spMkLst>
        </pc:spChg>
        <pc:spChg chg="add mod">
          <ac:chgData name="Elsaker, Sheri" userId="03aeeb51-71af-4ec0-ba02-b4548e55d73c" providerId="ADAL" clId="{1514E898-93AE-43E9-A31B-1164B4C54D66}" dt="2022-10-25T13:36:46.937" v="439" actId="207"/>
          <ac:spMkLst>
            <pc:docMk/>
            <pc:sldMk cId="3767364715" sldId="698"/>
            <ac:spMk id="19" creationId="{03E6F8E1-9D90-4680-AF6C-51C146386BCF}"/>
          </ac:spMkLst>
        </pc:spChg>
        <pc:spChg chg="add mod">
          <ac:chgData name="Elsaker, Sheri" userId="03aeeb51-71af-4ec0-ba02-b4548e55d73c" providerId="ADAL" clId="{1514E898-93AE-43E9-A31B-1164B4C54D66}" dt="2022-10-27T12:10:59.083" v="4309" actId="20577"/>
          <ac:spMkLst>
            <pc:docMk/>
            <pc:sldMk cId="3767364715" sldId="698"/>
            <ac:spMk id="20" creationId="{3E20F7E9-28C0-41D7-8BB7-113356CF8A3B}"/>
          </ac:spMkLst>
        </pc:spChg>
        <pc:spChg chg="add mod">
          <ac:chgData name="Elsaker, Sheri" userId="03aeeb51-71af-4ec0-ba02-b4548e55d73c" providerId="ADAL" clId="{1514E898-93AE-43E9-A31B-1164B4C54D66}" dt="2022-10-27T12:10:55.948" v="4308" actId="20577"/>
          <ac:spMkLst>
            <pc:docMk/>
            <pc:sldMk cId="3767364715" sldId="698"/>
            <ac:spMk id="21" creationId="{2E5D1B92-6020-4252-867C-E14F29FF15DE}"/>
          </ac:spMkLst>
        </pc:spChg>
        <pc:spChg chg="mod">
          <ac:chgData name="Elsaker, Sheri" userId="03aeeb51-71af-4ec0-ba02-b4548e55d73c" providerId="ADAL" clId="{1514E898-93AE-43E9-A31B-1164B4C54D66}" dt="2022-10-27T12:02:43.764" v="4003" actId="255"/>
          <ac:spMkLst>
            <pc:docMk/>
            <pc:sldMk cId="3767364715" sldId="698"/>
            <ac:spMk id="50" creationId="{00000000-0000-0000-0000-000000000000}"/>
          </ac:spMkLst>
        </pc:spChg>
        <pc:spChg chg="mod">
          <ac:chgData name="Elsaker, Sheri" userId="03aeeb51-71af-4ec0-ba02-b4548e55d73c" providerId="ADAL" clId="{1514E898-93AE-43E9-A31B-1164B4C54D66}" dt="2022-10-25T13:34:37.841" v="372" actId="1076"/>
          <ac:spMkLst>
            <pc:docMk/>
            <pc:sldMk cId="3767364715" sldId="698"/>
            <ac:spMk id="52" creationId="{00000000-0000-0000-0000-000000000000}"/>
          </ac:spMkLst>
        </pc:spChg>
        <pc:spChg chg="mod">
          <ac:chgData name="Elsaker, Sheri" userId="03aeeb51-71af-4ec0-ba02-b4548e55d73c" providerId="ADAL" clId="{1514E898-93AE-43E9-A31B-1164B4C54D66}" dt="2022-10-27T12:02:20.580" v="3972" actId="1076"/>
          <ac:spMkLst>
            <pc:docMk/>
            <pc:sldMk cId="3767364715" sldId="698"/>
            <ac:spMk id="53" creationId="{00000000-0000-0000-0000-000000000000}"/>
          </ac:spMkLst>
        </pc:spChg>
        <pc:spChg chg="mod">
          <ac:chgData name="Elsaker, Sheri" userId="03aeeb51-71af-4ec0-ba02-b4548e55d73c" providerId="ADAL" clId="{1514E898-93AE-43E9-A31B-1164B4C54D66}" dt="2022-10-27T12:08:54.944" v="4176" actId="255"/>
          <ac:spMkLst>
            <pc:docMk/>
            <pc:sldMk cId="3767364715" sldId="698"/>
            <ac:spMk id="55" creationId="{00000000-0000-0000-0000-000000000000}"/>
          </ac:spMkLst>
        </pc:spChg>
        <pc:spChg chg="mod">
          <ac:chgData name="Elsaker, Sheri" userId="03aeeb51-71af-4ec0-ba02-b4548e55d73c" providerId="ADAL" clId="{1514E898-93AE-43E9-A31B-1164B4C54D66}" dt="2022-10-27T12:04:36.089" v="4048" actId="1076"/>
          <ac:spMkLst>
            <pc:docMk/>
            <pc:sldMk cId="3767364715" sldId="698"/>
            <ac:spMk id="56" creationId="{00000000-0000-0000-0000-000000000000}"/>
          </ac:spMkLst>
        </pc:spChg>
        <pc:spChg chg="mod">
          <ac:chgData name="Elsaker, Sheri" userId="03aeeb51-71af-4ec0-ba02-b4548e55d73c" providerId="ADAL" clId="{1514E898-93AE-43E9-A31B-1164B4C54D66}" dt="2022-10-25T13:34:37.841" v="372" actId="1076"/>
          <ac:spMkLst>
            <pc:docMk/>
            <pc:sldMk cId="3767364715" sldId="698"/>
            <ac:spMk id="58" creationId="{00000000-0000-0000-0000-000000000000}"/>
          </ac:spMkLst>
        </pc:spChg>
        <pc:spChg chg="mod">
          <ac:chgData name="Elsaker, Sheri" userId="03aeeb51-71af-4ec0-ba02-b4548e55d73c" providerId="ADAL" clId="{1514E898-93AE-43E9-A31B-1164B4C54D66}" dt="2022-10-25T13:39:13.851" v="446" actId="1076"/>
          <ac:spMkLst>
            <pc:docMk/>
            <pc:sldMk cId="3767364715" sldId="698"/>
            <ac:spMk id="59" creationId="{00000000-0000-0000-0000-000000000000}"/>
          </ac:spMkLst>
        </pc:spChg>
        <pc:spChg chg="mod">
          <ac:chgData name="Elsaker, Sheri" userId="03aeeb51-71af-4ec0-ba02-b4548e55d73c" providerId="ADAL" clId="{1514E898-93AE-43E9-A31B-1164B4C54D66}" dt="2022-10-25T13:39:13.851" v="446" actId="1076"/>
          <ac:spMkLst>
            <pc:docMk/>
            <pc:sldMk cId="3767364715" sldId="698"/>
            <ac:spMk id="61" creationId="{00000000-0000-0000-0000-000000000000}"/>
          </ac:spMkLst>
        </pc:spChg>
        <pc:spChg chg="mod">
          <ac:chgData name="Elsaker, Sheri" userId="03aeeb51-71af-4ec0-ba02-b4548e55d73c" providerId="ADAL" clId="{1514E898-93AE-43E9-A31B-1164B4C54D66}" dt="2022-10-27T12:04:27.892" v="4046" actId="255"/>
          <ac:spMkLst>
            <pc:docMk/>
            <pc:sldMk cId="3767364715" sldId="698"/>
            <ac:spMk id="65" creationId="{00000000-0000-0000-0000-000000000000}"/>
          </ac:spMkLst>
        </pc:spChg>
        <pc:spChg chg="mod">
          <ac:chgData name="Elsaker, Sheri" userId="03aeeb51-71af-4ec0-ba02-b4548e55d73c" providerId="ADAL" clId="{1514E898-93AE-43E9-A31B-1164B4C54D66}" dt="2022-10-27T12:09:05.305" v="4193" actId="255"/>
          <ac:spMkLst>
            <pc:docMk/>
            <pc:sldMk cId="3767364715" sldId="698"/>
            <ac:spMk id="67" creationId="{00000000-0000-0000-0000-000000000000}"/>
          </ac:spMkLst>
        </pc:spChg>
        <pc:spChg chg="mod">
          <ac:chgData name="Elsaker, Sheri" userId="03aeeb51-71af-4ec0-ba02-b4548e55d73c" providerId="ADAL" clId="{1514E898-93AE-43E9-A31B-1164B4C54D66}" dt="2022-10-27T12:11:34.270" v="4378" actId="20577"/>
          <ac:spMkLst>
            <pc:docMk/>
            <pc:sldMk cId="3767364715" sldId="698"/>
            <ac:spMk id="69" creationId="{00000000-0000-0000-0000-000000000000}"/>
          </ac:spMkLst>
        </pc:spChg>
        <pc:spChg chg="mod">
          <ac:chgData name="Elsaker, Sheri" userId="03aeeb51-71af-4ec0-ba02-b4548e55d73c" providerId="ADAL" clId="{1514E898-93AE-43E9-A31B-1164B4C54D66}" dt="2022-10-27T12:09:19.715" v="4210" actId="20577"/>
          <ac:spMkLst>
            <pc:docMk/>
            <pc:sldMk cId="3767364715" sldId="698"/>
            <ac:spMk id="71" creationId="{00000000-0000-0000-0000-000000000000}"/>
          </ac:spMkLst>
        </pc:spChg>
      </pc:sldChg>
      <pc:sldChg chg="del">
        <pc:chgData name="Elsaker, Sheri" userId="03aeeb51-71af-4ec0-ba02-b4548e55d73c" providerId="ADAL" clId="{1514E898-93AE-43E9-A31B-1164B4C54D66}" dt="2022-10-25T18:31:46.072" v="2608" actId="47"/>
        <pc:sldMkLst>
          <pc:docMk/>
          <pc:sldMk cId="1033624765" sldId="792"/>
        </pc:sldMkLst>
      </pc:sldChg>
      <pc:sldChg chg="addSp delSp modSp mod ord modNotesTx">
        <pc:chgData name="Elsaker, Sheri" userId="03aeeb51-71af-4ec0-ba02-b4548e55d73c" providerId="ADAL" clId="{1514E898-93AE-43E9-A31B-1164B4C54D66}" dt="2022-10-27T15:23:46.492" v="7512" actId="20577"/>
        <pc:sldMkLst>
          <pc:docMk/>
          <pc:sldMk cId="3032595839" sldId="831"/>
        </pc:sldMkLst>
        <pc:spChg chg="mod">
          <ac:chgData name="Elsaker, Sheri" userId="03aeeb51-71af-4ec0-ba02-b4548e55d73c" providerId="ADAL" clId="{1514E898-93AE-43E9-A31B-1164B4C54D66}" dt="2022-10-25T18:09:44.663" v="1822" actId="1036"/>
          <ac:spMkLst>
            <pc:docMk/>
            <pc:sldMk cId="3032595839" sldId="831"/>
            <ac:spMk id="29" creationId="{00000000-0000-0000-0000-000000000000}"/>
          </ac:spMkLst>
        </pc:spChg>
        <pc:spChg chg="mod">
          <ac:chgData name="Elsaker, Sheri" userId="03aeeb51-71af-4ec0-ba02-b4548e55d73c" providerId="ADAL" clId="{1514E898-93AE-43E9-A31B-1164B4C54D66}" dt="2022-10-25T18:09:44.663" v="1822" actId="1036"/>
          <ac:spMkLst>
            <pc:docMk/>
            <pc:sldMk cId="3032595839" sldId="831"/>
            <ac:spMk id="30" creationId="{00000000-0000-0000-0000-000000000000}"/>
          </ac:spMkLst>
        </pc:spChg>
        <pc:spChg chg="add del mod">
          <ac:chgData name="Elsaker, Sheri" userId="03aeeb51-71af-4ec0-ba02-b4548e55d73c" providerId="ADAL" clId="{1514E898-93AE-43E9-A31B-1164B4C54D66}" dt="2022-10-25T17:56:25.921" v="1103" actId="478"/>
          <ac:spMkLst>
            <pc:docMk/>
            <pc:sldMk cId="3032595839" sldId="831"/>
            <ac:spMk id="33" creationId="{0FE5A617-2825-4627-8B80-6A5BF470180A}"/>
          </ac:spMkLst>
        </pc:spChg>
        <pc:spChg chg="add del mod">
          <ac:chgData name="Elsaker, Sheri" userId="03aeeb51-71af-4ec0-ba02-b4548e55d73c" providerId="ADAL" clId="{1514E898-93AE-43E9-A31B-1164B4C54D66}" dt="2022-10-25T17:56:40.395" v="1105" actId="478"/>
          <ac:spMkLst>
            <pc:docMk/>
            <pc:sldMk cId="3032595839" sldId="831"/>
            <ac:spMk id="34" creationId="{1CA05DA8-F582-4ABD-93A2-B0A96FA8FD6D}"/>
          </ac:spMkLst>
        </pc:spChg>
        <pc:spChg chg="add mod">
          <ac:chgData name="Elsaker, Sheri" userId="03aeeb51-71af-4ec0-ba02-b4548e55d73c" providerId="ADAL" clId="{1514E898-93AE-43E9-A31B-1164B4C54D66}" dt="2022-10-25T18:26:18.525" v="2603" actId="20577"/>
          <ac:spMkLst>
            <pc:docMk/>
            <pc:sldMk cId="3032595839" sldId="831"/>
            <ac:spMk id="35" creationId="{13AA7282-3924-4D44-A08F-B34E651364F5}"/>
          </ac:spMkLst>
        </pc:spChg>
        <pc:spChg chg="add mod">
          <ac:chgData name="Elsaker, Sheri" userId="03aeeb51-71af-4ec0-ba02-b4548e55d73c" providerId="ADAL" clId="{1514E898-93AE-43E9-A31B-1164B4C54D66}" dt="2022-10-25T18:25:30.348" v="2586" actId="20577"/>
          <ac:spMkLst>
            <pc:docMk/>
            <pc:sldMk cId="3032595839" sldId="831"/>
            <ac:spMk id="38" creationId="{CBC750AB-4545-4AC1-8258-03E21D2E56BC}"/>
          </ac:spMkLst>
        </pc:spChg>
        <pc:spChg chg="add del mod">
          <ac:chgData name="Elsaker, Sheri" userId="03aeeb51-71af-4ec0-ba02-b4548e55d73c" providerId="ADAL" clId="{1514E898-93AE-43E9-A31B-1164B4C54D66}" dt="2022-10-25T18:05:45.912" v="1609" actId="478"/>
          <ac:spMkLst>
            <pc:docMk/>
            <pc:sldMk cId="3032595839" sldId="831"/>
            <ac:spMk id="39" creationId="{6F3EB6DE-EF4A-4BED-910D-FA4245F85C3F}"/>
          </ac:spMkLst>
        </pc:spChg>
        <pc:spChg chg="mod">
          <ac:chgData name="Elsaker, Sheri" userId="03aeeb51-71af-4ec0-ba02-b4548e55d73c" providerId="ADAL" clId="{1514E898-93AE-43E9-A31B-1164B4C54D66}" dt="2022-10-25T18:09:44.663" v="1822" actId="1036"/>
          <ac:spMkLst>
            <pc:docMk/>
            <pc:sldMk cId="3032595839" sldId="831"/>
            <ac:spMk id="41" creationId="{00000000-0000-0000-0000-000000000000}"/>
          </ac:spMkLst>
        </pc:spChg>
        <pc:spChg chg="mod">
          <ac:chgData name="Elsaker, Sheri" userId="03aeeb51-71af-4ec0-ba02-b4548e55d73c" providerId="ADAL" clId="{1514E898-93AE-43E9-A31B-1164B4C54D66}" dt="2022-10-25T18:09:44.663" v="1822" actId="1036"/>
          <ac:spMkLst>
            <pc:docMk/>
            <pc:sldMk cId="3032595839" sldId="831"/>
            <ac:spMk id="42" creationId="{00000000-0000-0000-0000-000000000000}"/>
          </ac:spMkLst>
        </pc:spChg>
        <pc:spChg chg="add mod">
          <ac:chgData name="Elsaker, Sheri" userId="03aeeb51-71af-4ec0-ba02-b4548e55d73c" providerId="ADAL" clId="{1514E898-93AE-43E9-A31B-1164B4C54D66}" dt="2022-10-25T18:20:49.882" v="2484" actId="1035"/>
          <ac:spMkLst>
            <pc:docMk/>
            <pc:sldMk cId="3032595839" sldId="831"/>
            <ac:spMk id="48" creationId="{409FC1B2-8525-4B57-BE99-D205E24CE013}"/>
          </ac:spMkLst>
        </pc:spChg>
        <pc:spChg chg="add mod">
          <ac:chgData name="Elsaker, Sheri" userId="03aeeb51-71af-4ec0-ba02-b4548e55d73c" providerId="ADAL" clId="{1514E898-93AE-43E9-A31B-1164B4C54D66}" dt="2022-10-25T18:20:49.882" v="2484" actId="1035"/>
          <ac:spMkLst>
            <pc:docMk/>
            <pc:sldMk cId="3032595839" sldId="831"/>
            <ac:spMk id="49" creationId="{E3E38584-DC93-45D0-AB22-BA733F1EA2A7}"/>
          </ac:spMkLst>
        </pc:spChg>
        <pc:spChg chg="mod">
          <ac:chgData name="Elsaker, Sheri" userId="03aeeb51-71af-4ec0-ba02-b4548e55d73c" providerId="ADAL" clId="{1514E898-93AE-43E9-A31B-1164B4C54D66}" dt="2022-10-25T18:09:44.663" v="1822" actId="1036"/>
          <ac:spMkLst>
            <pc:docMk/>
            <pc:sldMk cId="3032595839" sldId="831"/>
            <ac:spMk id="50" creationId="{00000000-0000-0000-0000-000000000000}"/>
          </ac:spMkLst>
        </pc:spChg>
        <pc:spChg chg="mod">
          <ac:chgData name="Elsaker, Sheri" userId="03aeeb51-71af-4ec0-ba02-b4548e55d73c" providerId="ADAL" clId="{1514E898-93AE-43E9-A31B-1164B4C54D66}" dt="2022-10-25T18:09:44.663" v="1822" actId="1036"/>
          <ac:spMkLst>
            <pc:docMk/>
            <pc:sldMk cId="3032595839" sldId="831"/>
            <ac:spMk id="51" creationId="{00000000-0000-0000-0000-000000000000}"/>
          </ac:spMkLst>
        </pc:spChg>
        <pc:spChg chg="add mod">
          <ac:chgData name="Elsaker, Sheri" userId="03aeeb51-71af-4ec0-ba02-b4548e55d73c" providerId="ADAL" clId="{1514E898-93AE-43E9-A31B-1164B4C54D66}" dt="2022-10-25T18:20:49.882" v="2484" actId="1035"/>
          <ac:spMkLst>
            <pc:docMk/>
            <pc:sldMk cId="3032595839" sldId="831"/>
            <ac:spMk id="52" creationId="{C0EB12CA-BB92-441B-A21F-191FF6379199}"/>
          </ac:spMkLst>
        </pc:spChg>
        <pc:spChg chg="add mod">
          <ac:chgData name="Elsaker, Sheri" userId="03aeeb51-71af-4ec0-ba02-b4548e55d73c" providerId="ADAL" clId="{1514E898-93AE-43E9-A31B-1164B4C54D66}" dt="2022-10-25T18:20:49.882" v="2484" actId="1035"/>
          <ac:spMkLst>
            <pc:docMk/>
            <pc:sldMk cId="3032595839" sldId="831"/>
            <ac:spMk id="53" creationId="{095D6767-2FFC-4117-8652-700DEF3A8FB0}"/>
          </ac:spMkLst>
        </pc:spChg>
        <pc:spChg chg="add del mod">
          <ac:chgData name="Elsaker, Sheri" userId="03aeeb51-71af-4ec0-ba02-b4548e55d73c" providerId="ADAL" clId="{1514E898-93AE-43E9-A31B-1164B4C54D66}" dt="2022-10-25T18:13:26.832" v="2045" actId="478"/>
          <ac:spMkLst>
            <pc:docMk/>
            <pc:sldMk cId="3032595839" sldId="831"/>
            <ac:spMk id="54" creationId="{08DB366A-411D-4C3A-93AC-3AD711AE3D0B}"/>
          </ac:spMkLst>
        </pc:spChg>
        <pc:spChg chg="add del mod">
          <ac:chgData name="Elsaker, Sheri" userId="03aeeb51-71af-4ec0-ba02-b4548e55d73c" providerId="ADAL" clId="{1514E898-93AE-43E9-A31B-1164B4C54D66}" dt="2022-10-25T18:13:25.890" v="2044" actId="478"/>
          <ac:spMkLst>
            <pc:docMk/>
            <pc:sldMk cId="3032595839" sldId="831"/>
            <ac:spMk id="55" creationId="{75C9B000-1B49-4576-A876-356D92DCA41A}"/>
          </ac:spMkLst>
        </pc:spChg>
        <pc:spChg chg="mod">
          <ac:chgData name="Elsaker, Sheri" userId="03aeeb51-71af-4ec0-ba02-b4548e55d73c" providerId="ADAL" clId="{1514E898-93AE-43E9-A31B-1164B4C54D66}" dt="2022-10-25T18:09:44.663" v="1822" actId="1036"/>
          <ac:spMkLst>
            <pc:docMk/>
            <pc:sldMk cId="3032595839" sldId="831"/>
            <ac:spMk id="56" creationId="{00000000-0000-0000-0000-000000000000}"/>
          </ac:spMkLst>
        </pc:spChg>
        <pc:spChg chg="mod">
          <ac:chgData name="Elsaker, Sheri" userId="03aeeb51-71af-4ec0-ba02-b4548e55d73c" providerId="ADAL" clId="{1514E898-93AE-43E9-A31B-1164B4C54D66}" dt="2022-10-25T18:09:44.663" v="1822" actId="1036"/>
          <ac:spMkLst>
            <pc:docMk/>
            <pc:sldMk cId="3032595839" sldId="831"/>
            <ac:spMk id="57" creationId="{00000000-0000-0000-0000-000000000000}"/>
          </ac:spMkLst>
        </pc:spChg>
        <pc:spChg chg="add mod">
          <ac:chgData name="Elsaker, Sheri" userId="03aeeb51-71af-4ec0-ba02-b4548e55d73c" providerId="ADAL" clId="{1514E898-93AE-43E9-A31B-1164B4C54D66}" dt="2022-10-25T18:20:49.882" v="2484" actId="1035"/>
          <ac:spMkLst>
            <pc:docMk/>
            <pc:sldMk cId="3032595839" sldId="831"/>
            <ac:spMk id="58" creationId="{C4127787-E765-439B-8347-188EE7CFDDF3}"/>
          </ac:spMkLst>
        </pc:spChg>
        <pc:spChg chg="add mod">
          <ac:chgData name="Elsaker, Sheri" userId="03aeeb51-71af-4ec0-ba02-b4548e55d73c" providerId="ADAL" clId="{1514E898-93AE-43E9-A31B-1164B4C54D66}" dt="2022-10-25T18:20:49.882" v="2484" actId="1035"/>
          <ac:spMkLst>
            <pc:docMk/>
            <pc:sldMk cId="3032595839" sldId="831"/>
            <ac:spMk id="59" creationId="{F4F0DA10-8EC0-4B3A-BD14-090FA3969444}"/>
          </ac:spMkLst>
        </pc:spChg>
        <pc:spChg chg="add del mod">
          <ac:chgData name="Elsaker, Sheri" userId="03aeeb51-71af-4ec0-ba02-b4548e55d73c" providerId="ADAL" clId="{1514E898-93AE-43E9-A31B-1164B4C54D66}" dt="2022-10-25T18:12:10.380" v="1928" actId="478"/>
          <ac:spMkLst>
            <pc:docMk/>
            <pc:sldMk cId="3032595839" sldId="831"/>
            <ac:spMk id="60" creationId="{C8905494-2516-4E88-9C6F-41A908333594}"/>
          </ac:spMkLst>
        </pc:spChg>
        <pc:spChg chg="add del mod">
          <ac:chgData name="Elsaker, Sheri" userId="03aeeb51-71af-4ec0-ba02-b4548e55d73c" providerId="ADAL" clId="{1514E898-93AE-43E9-A31B-1164B4C54D66}" dt="2022-10-25T18:12:09.315" v="1927" actId="478"/>
          <ac:spMkLst>
            <pc:docMk/>
            <pc:sldMk cId="3032595839" sldId="831"/>
            <ac:spMk id="61" creationId="{5DC23791-736A-47A3-8BB9-EB9E1AEBB836}"/>
          </ac:spMkLst>
        </pc:spChg>
        <pc:spChg chg="add mod">
          <ac:chgData name="Elsaker, Sheri" userId="03aeeb51-71af-4ec0-ba02-b4548e55d73c" providerId="ADAL" clId="{1514E898-93AE-43E9-A31B-1164B4C54D66}" dt="2022-10-25T18:21:37.048" v="2491" actId="255"/>
          <ac:spMkLst>
            <pc:docMk/>
            <pc:sldMk cId="3032595839" sldId="831"/>
            <ac:spMk id="62" creationId="{DFD03AD1-0F3D-4D45-BD2F-C29D0AF29E24}"/>
          </ac:spMkLst>
        </pc:spChg>
        <pc:spChg chg="add mod">
          <ac:chgData name="Elsaker, Sheri" userId="03aeeb51-71af-4ec0-ba02-b4548e55d73c" providerId="ADAL" clId="{1514E898-93AE-43E9-A31B-1164B4C54D66}" dt="2022-10-25T18:21:41.766" v="2492" actId="255"/>
          <ac:spMkLst>
            <pc:docMk/>
            <pc:sldMk cId="3032595839" sldId="831"/>
            <ac:spMk id="63" creationId="{DDCACBEB-8893-47DF-8419-345DE0419C83}"/>
          </ac:spMkLst>
        </pc:spChg>
        <pc:spChg chg="add mod">
          <ac:chgData name="Elsaker, Sheri" userId="03aeeb51-71af-4ec0-ba02-b4548e55d73c" providerId="ADAL" clId="{1514E898-93AE-43E9-A31B-1164B4C54D66}" dt="2022-10-25T18:21:32.311" v="2490" actId="255"/>
          <ac:spMkLst>
            <pc:docMk/>
            <pc:sldMk cId="3032595839" sldId="831"/>
            <ac:spMk id="64" creationId="{EBFADAB6-3AFC-4CC8-B7D9-B6FE32699052}"/>
          </ac:spMkLst>
        </pc:spChg>
        <pc:spChg chg="mod">
          <ac:chgData name="Elsaker, Sheri" userId="03aeeb51-71af-4ec0-ba02-b4548e55d73c" providerId="ADAL" clId="{1514E898-93AE-43E9-A31B-1164B4C54D66}" dt="2022-10-25T18:09:44.663" v="1822" actId="1036"/>
          <ac:spMkLst>
            <pc:docMk/>
            <pc:sldMk cId="3032595839" sldId="831"/>
            <ac:spMk id="65" creationId="{00000000-0000-0000-0000-000000000000}"/>
          </ac:spMkLst>
        </pc:spChg>
        <pc:spChg chg="mod">
          <ac:chgData name="Elsaker, Sheri" userId="03aeeb51-71af-4ec0-ba02-b4548e55d73c" providerId="ADAL" clId="{1514E898-93AE-43E9-A31B-1164B4C54D66}" dt="2022-10-25T18:09:44.663" v="1822" actId="1036"/>
          <ac:spMkLst>
            <pc:docMk/>
            <pc:sldMk cId="3032595839" sldId="831"/>
            <ac:spMk id="66" creationId="{00000000-0000-0000-0000-000000000000}"/>
          </ac:spMkLst>
        </pc:spChg>
        <pc:spChg chg="add del mod">
          <ac:chgData name="Elsaker, Sheri" userId="03aeeb51-71af-4ec0-ba02-b4548e55d73c" providerId="ADAL" clId="{1514E898-93AE-43E9-A31B-1164B4C54D66}" dt="2022-10-25T18:13:32.392" v="2047" actId="478"/>
          <ac:spMkLst>
            <pc:docMk/>
            <pc:sldMk cId="3032595839" sldId="831"/>
            <ac:spMk id="67" creationId="{E80FA182-717B-40CA-B485-3E96C0A258C4}"/>
          </ac:spMkLst>
        </pc:spChg>
        <pc:spChg chg="add del mod">
          <ac:chgData name="Elsaker, Sheri" userId="03aeeb51-71af-4ec0-ba02-b4548e55d73c" providerId="ADAL" clId="{1514E898-93AE-43E9-A31B-1164B4C54D66}" dt="2022-10-25T18:12:19.271" v="1932" actId="478"/>
          <ac:spMkLst>
            <pc:docMk/>
            <pc:sldMk cId="3032595839" sldId="831"/>
            <ac:spMk id="68" creationId="{353078F4-9943-47FB-B84A-5C303299A9F5}"/>
          </ac:spMkLst>
        </pc:spChg>
        <pc:spChg chg="add del mod">
          <ac:chgData name="Elsaker, Sheri" userId="03aeeb51-71af-4ec0-ba02-b4548e55d73c" providerId="ADAL" clId="{1514E898-93AE-43E9-A31B-1164B4C54D66}" dt="2022-10-25T18:13:36.803" v="2049" actId="478"/>
          <ac:spMkLst>
            <pc:docMk/>
            <pc:sldMk cId="3032595839" sldId="831"/>
            <ac:spMk id="69" creationId="{55D84C55-23C6-4DF6-9075-F802E202AC64}"/>
          </ac:spMkLst>
        </pc:spChg>
        <pc:spChg chg="mod">
          <ac:chgData name="Elsaker, Sheri" userId="03aeeb51-71af-4ec0-ba02-b4548e55d73c" providerId="ADAL" clId="{1514E898-93AE-43E9-A31B-1164B4C54D66}" dt="2022-10-25T18:23:49.323" v="2522" actId="207"/>
          <ac:spMkLst>
            <pc:docMk/>
            <pc:sldMk cId="3032595839" sldId="831"/>
            <ac:spMk id="70" creationId="{00000000-0000-0000-0000-000000000000}"/>
          </ac:spMkLst>
        </pc:spChg>
        <pc:spChg chg="mod">
          <ac:chgData name="Elsaker, Sheri" userId="03aeeb51-71af-4ec0-ba02-b4548e55d73c" providerId="ADAL" clId="{1514E898-93AE-43E9-A31B-1164B4C54D66}" dt="2022-10-25T18:22:28.495" v="2506" actId="255"/>
          <ac:spMkLst>
            <pc:docMk/>
            <pc:sldMk cId="3032595839" sldId="831"/>
            <ac:spMk id="71" creationId="{00000000-0000-0000-0000-000000000000}"/>
          </ac:spMkLst>
        </pc:spChg>
        <pc:spChg chg="mod">
          <ac:chgData name="Elsaker, Sheri" userId="03aeeb51-71af-4ec0-ba02-b4548e55d73c" providerId="ADAL" clId="{1514E898-93AE-43E9-A31B-1164B4C54D66}" dt="2022-10-25T18:23:14.802" v="2515" actId="255"/>
          <ac:spMkLst>
            <pc:docMk/>
            <pc:sldMk cId="3032595839" sldId="831"/>
            <ac:spMk id="75" creationId="{00000000-0000-0000-0000-000000000000}"/>
          </ac:spMkLst>
        </pc:spChg>
        <pc:spChg chg="mod">
          <ac:chgData name="Elsaker, Sheri" userId="03aeeb51-71af-4ec0-ba02-b4548e55d73c" providerId="ADAL" clId="{1514E898-93AE-43E9-A31B-1164B4C54D66}" dt="2022-10-25T18:22:40.973" v="2509" actId="255"/>
          <ac:spMkLst>
            <pc:docMk/>
            <pc:sldMk cId="3032595839" sldId="831"/>
            <ac:spMk id="76" creationId="{00000000-0000-0000-0000-000000000000}"/>
          </ac:spMkLst>
        </pc:spChg>
        <pc:spChg chg="mod">
          <ac:chgData name="Elsaker, Sheri" userId="03aeeb51-71af-4ec0-ba02-b4548e55d73c" providerId="ADAL" clId="{1514E898-93AE-43E9-A31B-1164B4C54D66}" dt="2022-10-25T18:22:59.558" v="2512" actId="255"/>
          <ac:spMkLst>
            <pc:docMk/>
            <pc:sldMk cId="3032595839" sldId="831"/>
            <ac:spMk id="77" creationId="{00000000-0000-0000-0000-000000000000}"/>
          </ac:spMkLst>
        </pc:spChg>
        <pc:spChg chg="add mod">
          <ac:chgData name="Elsaker, Sheri" userId="03aeeb51-71af-4ec0-ba02-b4548e55d73c" providerId="ADAL" clId="{1514E898-93AE-43E9-A31B-1164B4C54D66}" dt="2022-10-25T18:25:41.588" v="2591" actId="20577"/>
          <ac:spMkLst>
            <pc:docMk/>
            <pc:sldMk cId="3032595839" sldId="831"/>
            <ac:spMk id="80" creationId="{2B839D83-7F2F-40C6-BC92-576B430B29C5}"/>
          </ac:spMkLst>
        </pc:spChg>
        <pc:spChg chg="add del mod">
          <ac:chgData name="Elsaker, Sheri" userId="03aeeb51-71af-4ec0-ba02-b4548e55d73c" providerId="ADAL" clId="{1514E898-93AE-43E9-A31B-1164B4C54D66}" dt="2022-10-25T18:12:21.350" v="1933" actId="478"/>
          <ac:spMkLst>
            <pc:docMk/>
            <pc:sldMk cId="3032595839" sldId="831"/>
            <ac:spMk id="81" creationId="{B1E04CA4-C764-4CEC-874F-2DCE4FCE65CB}"/>
          </ac:spMkLst>
        </pc:spChg>
        <pc:spChg chg="add mod">
          <ac:chgData name="Elsaker, Sheri" userId="03aeeb51-71af-4ec0-ba02-b4548e55d73c" providerId="ADAL" clId="{1514E898-93AE-43E9-A31B-1164B4C54D66}" dt="2022-10-25T18:25:38.298" v="2590" actId="20577"/>
          <ac:spMkLst>
            <pc:docMk/>
            <pc:sldMk cId="3032595839" sldId="831"/>
            <ac:spMk id="82" creationId="{A1BC34A6-E16A-4C0D-BC1C-2A372F76ACD0}"/>
          </ac:spMkLst>
        </pc:spChg>
        <pc:spChg chg="add mod">
          <ac:chgData name="Elsaker, Sheri" userId="03aeeb51-71af-4ec0-ba02-b4548e55d73c" providerId="ADAL" clId="{1514E898-93AE-43E9-A31B-1164B4C54D66}" dt="2022-10-25T18:25:27.453" v="2585" actId="1036"/>
          <ac:spMkLst>
            <pc:docMk/>
            <pc:sldMk cId="3032595839" sldId="831"/>
            <ac:spMk id="83" creationId="{5768CAB5-43E6-4B70-A439-A4E140CBAE29}"/>
          </ac:spMkLst>
        </pc:spChg>
        <pc:spChg chg="add mod">
          <ac:chgData name="Elsaker, Sheri" userId="03aeeb51-71af-4ec0-ba02-b4548e55d73c" providerId="ADAL" clId="{1514E898-93AE-43E9-A31B-1164B4C54D66}" dt="2022-10-25T18:25:54.877" v="2595" actId="1036"/>
          <ac:spMkLst>
            <pc:docMk/>
            <pc:sldMk cId="3032595839" sldId="831"/>
            <ac:spMk id="84" creationId="{EC59FDBF-5F12-4E30-A278-6A89CB98965E}"/>
          </ac:spMkLst>
        </pc:spChg>
        <pc:spChg chg="del mod">
          <ac:chgData name="Elsaker, Sheri" userId="03aeeb51-71af-4ec0-ba02-b4548e55d73c" providerId="ADAL" clId="{1514E898-93AE-43E9-A31B-1164B4C54D66}" dt="2022-10-25T18:03:24.080" v="1529" actId="478"/>
          <ac:spMkLst>
            <pc:docMk/>
            <pc:sldMk cId="3032595839" sldId="831"/>
            <ac:spMk id="138" creationId="{00000000-0000-0000-0000-000000000000}"/>
          </ac:spMkLst>
        </pc:spChg>
        <pc:spChg chg="del mod">
          <ac:chgData name="Elsaker, Sheri" userId="03aeeb51-71af-4ec0-ba02-b4548e55d73c" providerId="ADAL" clId="{1514E898-93AE-43E9-A31B-1164B4C54D66}" dt="2022-10-25T18:03:21.780" v="1528" actId="478"/>
          <ac:spMkLst>
            <pc:docMk/>
            <pc:sldMk cId="3032595839" sldId="831"/>
            <ac:spMk id="139" creationId="{00000000-0000-0000-0000-000000000000}"/>
          </ac:spMkLst>
        </pc:spChg>
        <pc:spChg chg="mod">
          <ac:chgData name="Elsaker, Sheri" userId="03aeeb51-71af-4ec0-ba02-b4548e55d73c" providerId="ADAL" clId="{1514E898-93AE-43E9-A31B-1164B4C54D66}" dt="2022-10-25T18:25:33.843" v="2588" actId="20577"/>
          <ac:spMkLst>
            <pc:docMk/>
            <pc:sldMk cId="3032595839" sldId="831"/>
            <ac:spMk id="140" creationId="{00000000-0000-0000-0000-000000000000}"/>
          </ac:spMkLst>
        </pc:spChg>
        <pc:spChg chg="mod">
          <ac:chgData name="Elsaker, Sheri" userId="03aeeb51-71af-4ec0-ba02-b4548e55d73c" providerId="ADAL" clId="{1514E898-93AE-43E9-A31B-1164B4C54D66}" dt="2022-10-25T18:25:32.119" v="2587" actId="20577"/>
          <ac:spMkLst>
            <pc:docMk/>
            <pc:sldMk cId="3032595839" sldId="831"/>
            <ac:spMk id="141" creationId="{00000000-0000-0000-0000-000000000000}"/>
          </ac:spMkLst>
        </pc:spChg>
        <pc:spChg chg="mod">
          <ac:chgData name="Elsaker, Sheri" userId="03aeeb51-71af-4ec0-ba02-b4548e55d73c" providerId="ADAL" clId="{1514E898-93AE-43E9-A31B-1164B4C54D66}" dt="2022-10-25T18:25:36.037" v="2589" actId="20577"/>
          <ac:spMkLst>
            <pc:docMk/>
            <pc:sldMk cId="3032595839" sldId="831"/>
            <ac:spMk id="142" creationId="{00000000-0000-0000-0000-000000000000}"/>
          </ac:spMkLst>
        </pc:spChg>
        <pc:spChg chg="del">
          <ac:chgData name="Elsaker, Sheri" userId="03aeeb51-71af-4ec0-ba02-b4548e55d73c" providerId="ADAL" clId="{1514E898-93AE-43E9-A31B-1164B4C54D66}" dt="2022-10-25T17:55:21.459" v="1085" actId="478"/>
          <ac:spMkLst>
            <pc:docMk/>
            <pc:sldMk cId="3032595839" sldId="831"/>
            <ac:spMk id="143" creationId="{00000000-0000-0000-0000-000000000000}"/>
          </ac:spMkLst>
        </pc:spChg>
        <pc:spChg chg="del">
          <ac:chgData name="Elsaker, Sheri" userId="03aeeb51-71af-4ec0-ba02-b4548e55d73c" providerId="ADAL" clId="{1514E898-93AE-43E9-A31B-1164B4C54D66}" dt="2022-10-25T17:55:24.267" v="1086" actId="478"/>
          <ac:spMkLst>
            <pc:docMk/>
            <pc:sldMk cId="3032595839" sldId="831"/>
            <ac:spMk id="144" creationId="{00000000-0000-0000-0000-000000000000}"/>
          </ac:spMkLst>
        </pc:spChg>
        <pc:spChg chg="del">
          <ac:chgData name="Elsaker, Sheri" userId="03aeeb51-71af-4ec0-ba02-b4548e55d73c" providerId="ADAL" clId="{1514E898-93AE-43E9-A31B-1164B4C54D66}" dt="2022-10-25T17:55:28.890" v="1088" actId="478"/>
          <ac:spMkLst>
            <pc:docMk/>
            <pc:sldMk cId="3032595839" sldId="831"/>
            <ac:spMk id="145" creationId="{00000000-0000-0000-0000-000000000000}"/>
          </ac:spMkLst>
        </pc:spChg>
        <pc:spChg chg="del">
          <ac:chgData name="Elsaker, Sheri" userId="03aeeb51-71af-4ec0-ba02-b4548e55d73c" providerId="ADAL" clId="{1514E898-93AE-43E9-A31B-1164B4C54D66}" dt="2022-10-25T17:55:26.438" v="1087" actId="478"/>
          <ac:spMkLst>
            <pc:docMk/>
            <pc:sldMk cId="3032595839" sldId="831"/>
            <ac:spMk id="146" creationId="{00000000-0000-0000-0000-000000000000}"/>
          </ac:spMkLst>
        </pc:spChg>
        <pc:spChg chg="del">
          <ac:chgData name="Elsaker, Sheri" userId="03aeeb51-71af-4ec0-ba02-b4548e55d73c" providerId="ADAL" clId="{1514E898-93AE-43E9-A31B-1164B4C54D66}" dt="2022-10-25T17:55:31.338" v="1089" actId="478"/>
          <ac:spMkLst>
            <pc:docMk/>
            <pc:sldMk cId="3032595839" sldId="831"/>
            <ac:spMk id="147" creationId="{00000000-0000-0000-0000-000000000000}"/>
          </ac:spMkLst>
        </pc:spChg>
        <pc:picChg chg="add del mod">
          <ac:chgData name="Elsaker, Sheri" userId="03aeeb51-71af-4ec0-ba02-b4548e55d73c" providerId="ADAL" clId="{1514E898-93AE-43E9-A31B-1164B4C54D66}" dt="2022-10-25T18:22:07.269" v="2501" actId="478"/>
          <ac:picMkLst>
            <pc:docMk/>
            <pc:sldMk cId="3032595839" sldId="831"/>
            <ac:picMk id="36" creationId="{18820617-0D12-4CE7-B506-0F88DB65E8BE}"/>
          </ac:picMkLst>
        </pc:picChg>
        <pc:picChg chg="add del mod">
          <ac:chgData name="Elsaker, Sheri" userId="03aeeb51-71af-4ec0-ba02-b4548e55d73c" providerId="ADAL" clId="{1514E898-93AE-43E9-A31B-1164B4C54D66}" dt="2022-10-25T18:04:04.731" v="1536" actId="478"/>
          <ac:picMkLst>
            <pc:docMk/>
            <pc:sldMk cId="3032595839" sldId="831"/>
            <ac:picMk id="37" creationId="{3073C072-0AC0-4256-8F62-C0CD3107B5C2}"/>
          </ac:picMkLst>
        </pc:picChg>
        <pc:cxnChg chg="mod">
          <ac:chgData name="Elsaker, Sheri" userId="03aeeb51-71af-4ec0-ba02-b4548e55d73c" providerId="ADAL" clId="{1514E898-93AE-43E9-A31B-1164B4C54D66}" dt="2022-10-25T18:09:44.663" v="1822" actId="1036"/>
          <ac:cxnSpMkLst>
            <pc:docMk/>
            <pc:sldMk cId="3032595839" sldId="831"/>
            <ac:cxnSpMk id="7" creationId="{00000000-0000-0000-0000-000000000000}"/>
          </ac:cxnSpMkLst>
        </pc:cxnChg>
        <pc:cxnChg chg="add mod">
          <ac:chgData name="Elsaker, Sheri" userId="03aeeb51-71af-4ec0-ba02-b4548e55d73c" providerId="ADAL" clId="{1514E898-93AE-43E9-A31B-1164B4C54D66}" dt="2022-10-25T18:21:32.311" v="2490" actId="255"/>
          <ac:cxnSpMkLst>
            <pc:docMk/>
            <pc:sldMk cId="3032595839" sldId="831"/>
            <ac:cxnSpMk id="40" creationId="{C55F91A6-86AA-4150-9298-394B38197BBD}"/>
          </ac:cxnSpMkLst>
        </pc:cxnChg>
        <pc:cxnChg chg="add mod">
          <ac:chgData name="Elsaker, Sheri" userId="03aeeb51-71af-4ec0-ba02-b4548e55d73c" providerId="ADAL" clId="{1514E898-93AE-43E9-A31B-1164B4C54D66}" dt="2022-10-25T18:20:49.882" v="2484" actId="1035"/>
          <ac:cxnSpMkLst>
            <pc:docMk/>
            <pc:sldMk cId="3032595839" sldId="831"/>
            <ac:cxnSpMk id="43" creationId="{FADC61AE-51FB-4211-9140-1FF490450628}"/>
          </ac:cxnSpMkLst>
        </pc:cxnChg>
        <pc:cxnChg chg="add del mod">
          <ac:chgData name="Elsaker, Sheri" userId="03aeeb51-71af-4ec0-ba02-b4548e55d73c" providerId="ADAL" clId="{1514E898-93AE-43E9-A31B-1164B4C54D66}" dt="2022-10-25T18:13:24.658" v="2043" actId="478"/>
          <ac:cxnSpMkLst>
            <pc:docMk/>
            <pc:sldMk cId="3032595839" sldId="831"/>
            <ac:cxnSpMk id="44" creationId="{D46A7BB4-510A-4585-9ADF-0CE36BDC8BFF}"/>
          </ac:cxnSpMkLst>
        </pc:cxnChg>
        <pc:cxnChg chg="add mod">
          <ac:chgData name="Elsaker, Sheri" userId="03aeeb51-71af-4ec0-ba02-b4548e55d73c" providerId="ADAL" clId="{1514E898-93AE-43E9-A31B-1164B4C54D66}" dt="2022-10-25T18:20:49.882" v="2484" actId="1035"/>
          <ac:cxnSpMkLst>
            <pc:docMk/>
            <pc:sldMk cId="3032595839" sldId="831"/>
            <ac:cxnSpMk id="45" creationId="{21CC7D71-5637-485B-857A-C603D15A6A23}"/>
          </ac:cxnSpMkLst>
        </pc:cxnChg>
        <pc:cxnChg chg="add del mod">
          <ac:chgData name="Elsaker, Sheri" userId="03aeeb51-71af-4ec0-ba02-b4548e55d73c" providerId="ADAL" clId="{1514E898-93AE-43E9-A31B-1164B4C54D66}" dt="2022-10-25T18:12:08.025" v="1926" actId="478"/>
          <ac:cxnSpMkLst>
            <pc:docMk/>
            <pc:sldMk cId="3032595839" sldId="831"/>
            <ac:cxnSpMk id="46" creationId="{DBA7E1AC-64C1-4CB8-A360-566CADA70BBF}"/>
          </ac:cxnSpMkLst>
        </pc:cxnChg>
        <pc:cxnChg chg="add del mod">
          <ac:chgData name="Elsaker, Sheri" userId="03aeeb51-71af-4ec0-ba02-b4548e55d73c" providerId="ADAL" clId="{1514E898-93AE-43E9-A31B-1164B4C54D66}" dt="2022-10-25T18:20:49.882" v="2484" actId="1035"/>
          <ac:cxnSpMkLst>
            <pc:docMk/>
            <pc:sldMk cId="3032595839" sldId="831"/>
            <ac:cxnSpMk id="47" creationId="{424A9966-5997-4D5A-AAED-EFD8F6CAADEF}"/>
          </ac:cxnSpMkLst>
        </pc:cxnChg>
        <pc:cxnChg chg="mod">
          <ac:chgData name="Elsaker, Sheri" userId="03aeeb51-71af-4ec0-ba02-b4548e55d73c" providerId="ADAL" clId="{1514E898-93AE-43E9-A31B-1164B4C54D66}" dt="2022-10-25T18:09:44.663" v="1822" actId="1036"/>
          <ac:cxnSpMkLst>
            <pc:docMk/>
            <pc:sldMk cId="3032595839" sldId="831"/>
            <ac:cxnSpMk id="72" creationId="{00000000-0000-0000-0000-000000000000}"/>
          </ac:cxnSpMkLst>
        </pc:cxnChg>
        <pc:cxnChg chg="mod">
          <ac:chgData name="Elsaker, Sheri" userId="03aeeb51-71af-4ec0-ba02-b4548e55d73c" providerId="ADAL" clId="{1514E898-93AE-43E9-A31B-1164B4C54D66}" dt="2022-10-25T18:09:44.663" v="1822" actId="1036"/>
          <ac:cxnSpMkLst>
            <pc:docMk/>
            <pc:sldMk cId="3032595839" sldId="831"/>
            <ac:cxnSpMk id="73" creationId="{00000000-0000-0000-0000-000000000000}"/>
          </ac:cxnSpMkLst>
        </pc:cxnChg>
        <pc:cxnChg chg="mod">
          <ac:chgData name="Elsaker, Sheri" userId="03aeeb51-71af-4ec0-ba02-b4548e55d73c" providerId="ADAL" clId="{1514E898-93AE-43E9-A31B-1164B4C54D66}" dt="2022-10-25T18:09:44.663" v="1822" actId="1036"/>
          <ac:cxnSpMkLst>
            <pc:docMk/>
            <pc:sldMk cId="3032595839" sldId="831"/>
            <ac:cxnSpMk id="74" creationId="{00000000-0000-0000-0000-000000000000}"/>
          </ac:cxnSpMkLst>
        </pc:cxnChg>
        <pc:cxnChg chg="mod">
          <ac:chgData name="Elsaker, Sheri" userId="03aeeb51-71af-4ec0-ba02-b4548e55d73c" providerId="ADAL" clId="{1514E898-93AE-43E9-A31B-1164B4C54D66}" dt="2022-10-25T18:09:44.663" v="1822" actId="1036"/>
          <ac:cxnSpMkLst>
            <pc:docMk/>
            <pc:sldMk cId="3032595839" sldId="831"/>
            <ac:cxnSpMk id="78" creationId="{00000000-0000-0000-0000-000000000000}"/>
          </ac:cxnSpMkLst>
        </pc:cxnChg>
        <pc:cxnChg chg="mod">
          <ac:chgData name="Elsaker, Sheri" userId="03aeeb51-71af-4ec0-ba02-b4548e55d73c" providerId="ADAL" clId="{1514E898-93AE-43E9-A31B-1164B4C54D66}" dt="2022-10-25T18:09:44.663" v="1822" actId="1036"/>
          <ac:cxnSpMkLst>
            <pc:docMk/>
            <pc:sldMk cId="3032595839" sldId="831"/>
            <ac:cxnSpMk id="79" creationId="{00000000-0000-0000-0000-000000000000}"/>
          </ac:cxnSpMkLst>
        </pc:cxnChg>
      </pc:sldChg>
      <pc:sldChg chg="ord">
        <pc:chgData name="Elsaker, Sheri" userId="03aeeb51-71af-4ec0-ba02-b4548e55d73c" providerId="ADAL" clId="{1514E898-93AE-43E9-A31B-1164B4C54D66}" dt="2022-10-27T13:03:08.290" v="7220"/>
        <pc:sldMkLst>
          <pc:docMk/>
          <pc:sldMk cId="1867776749" sldId="1051"/>
        </pc:sldMkLst>
      </pc:sldChg>
      <pc:sldChg chg="addSp delSp modSp mod modNotesTx">
        <pc:chgData name="Elsaker, Sheri" userId="03aeeb51-71af-4ec0-ba02-b4548e55d73c" providerId="ADAL" clId="{1514E898-93AE-43E9-A31B-1164B4C54D66}" dt="2022-10-27T16:46:45.652" v="8490" actId="20577"/>
        <pc:sldMkLst>
          <pc:docMk/>
          <pc:sldMk cId="4092582005" sldId="1111"/>
        </pc:sldMkLst>
        <pc:spChg chg="add mod">
          <ac:chgData name="Elsaker, Sheri" userId="03aeeb51-71af-4ec0-ba02-b4548e55d73c" providerId="ADAL" clId="{1514E898-93AE-43E9-A31B-1164B4C54D66}" dt="2022-10-27T12:21:05.495" v="5058" actId="20577"/>
          <ac:spMkLst>
            <pc:docMk/>
            <pc:sldMk cId="4092582005" sldId="1111"/>
            <ac:spMk id="37" creationId="{4E5B019D-6BC1-4570-9FB3-D8F79C703418}"/>
          </ac:spMkLst>
        </pc:spChg>
        <pc:spChg chg="add mod">
          <ac:chgData name="Elsaker, Sheri" userId="03aeeb51-71af-4ec0-ba02-b4548e55d73c" providerId="ADAL" clId="{1514E898-93AE-43E9-A31B-1164B4C54D66}" dt="2022-10-25T18:47:17.044" v="2993" actId="20577"/>
          <ac:spMkLst>
            <pc:docMk/>
            <pc:sldMk cId="4092582005" sldId="1111"/>
            <ac:spMk id="38" creationId="{EEAA6AD0-46E1-4E03-897D-991B591A3AD5}"/>
          </ac:spMkLst>
        </pc:spChg>
        <pc:spChg chg="mod">
          <ac:chgData name="Elsaker, Sheri" userId="03aeeb51-71af-4ec0-ba02-b4548e55d73c" providerId="ADAL" clId="{1514E898-93AE-43E9-A31B-1164B4C54D66}" dt="2022-10-27T16:45:47.959" v="8479" actId="1036"/>
          <ac:spMkLst>
            <pc:docMk/>
            <pc:sldMk cId="4092582005" sldId="1111"/>
            <ac:spMk id="56" creationId="{E4673061-0DCC-FF44-BC15-36499893F6A3}"/>
          </ac:spMkLst>
        </pc:spChg>
        <pc:spChg chg="mod">
          <ac:chgData name="Elsaker, Sheri" userId="03aeeb51-71af-4ec0-ba02-b4548e55d73c" providerId="ADAL" clId="{1514E898-93AE-43E9-A31B-1164B4C54D66}" dt="2022-10-27T16:46:00.250" v="8483" actId="20577"/>
          <ac:spMkLst>
            <pc:docMk/>
            <pc:sldMk cId="4092582005" sldId="1111"/>
            <ac:spMk id="57" creationId="{47666E0F-CA29-684F-983B-621C31E3536E}"/>
          </ac:spMkLst>
        </pc:spChg>
        <pc:spChg chg="mod">
          <ac:chgData name="Elsaker, Sheri" userId="03aeeb51-71af-4ec0-ba02-b4548e55d73c" providerId="ADAL" clId="{1514E898-93AE-43E9-A31B-1164B4C54D66}" dt="2022-10-27T16:46:45.652" v="8490" actId="20577"/>
          <ac:spMkLst>
            <pc:docMk/>
            <pc:sldMk cId="4092582005" sldId="1111"/>
            <ac:spMk id="58" creationId="{4CB3C754-9E33-3842-974C-E961090B698A}"/>
          </ac:spMkLst>
        </pc:spChg>
        <pc:spChg chg="mod">
          <ac:chgData name="Elsaker, Sheri" userId="03aeeb51-71af-4ec0-ba02-b4548e55d73c" providerId="ADAL" clId="{1514E898-93AE-43E9-A31B-1164B4C54D66}" dt="2022-10-27T16:46:18.149" v="8489" actId="20577"/>
          <ac:spMkLst>
            <pc:docMk/>
            <pc:sldMk cId="4092582005" sldId="1111"/>
            <ac:spMk id="59" creationId="{45623FCC-20B3-8A49-81D9-8CFFBCC3285E}"/>
          </ac:spMkLst>
        </pc:spChg>
        <pc:spChg chg="mod">
          <ac:chgData name="Elsaker, Sheri" userId="03aeeb51-71af-4ec0-ba02-b4548e55d73c" providerId="ADAL" clId="{1514E898-93AE-43E9-A31B-1164B4C54D66}" dt="2022-10-27T12:41:05.363" v="5880" actId="1035"/>
          <ac:spMkLst>
            <pc:docMk/>
            <pc:sldMk cId="4092582005" sldId="1111"/>
            <ac:spMk id="60" creationId="{A1C407FC-F4C0-B945-B923-2B7D11AF6D5A}"/>
          </ac:spMkLst>
        </pc:spChg>
        <pc:spChg chg="mod">
          <ac:chgData name="Elsaker, Sheri" userId="03aeeb51-71af-4ec0-ba02-b4548e55d73c" providerId="ADAL" clId="{1514E898-93AE-43E9-A31B-1164B4C54D66}" dt="2022-10-27T12:41:05.363" v="5880" actId="1035"/>
          <ac:spMkLst>
            <pc:docMk/>
            <pc:sldMk cId="4092582005" sldId="1111"/>
            <ac:spMk id="62" creationId="{C0B56480-D87C-8145-A3FA-F4A59E0F7A79}"/>
          </ac:spMkLst>
        </pc:spChg>
        <pc:spChg chg="mod">
          <ac:chgData name="Elsaker, Sheri" userId="03aeeb51-71af-4ec0-ba02-b4548e55d73c" providerId="ADAL" clId="{1514E898-93AE-43E9-A31B-1164B4C54D66}" dt="2022-10-27T12:41:05.363" v="5880" actId="1035"/>
          <ac:spMkLst>
            <pc:docMk/>
            <pc:sldMk cId="4092582005" sldId="1111"/>
            <ac:spMk id="63" creationId="{50BE4C6A-4A6E-9644-8765-2C5D9F52F1F7}"/>
          </ac:spMkLst>
        </pc:spChg>
        <pc:spChg chg="mod">
          <ac:chgData name="Elsaker, Sheri" userId="03aeeb51-71af-4ec0-ba02-b4548e55d73c" providerId="ADAL" clId="{1514E898-93AE-43E9-A31B-1164B4C54D66}" dt="2022-10-27T12:41:05.363" v="5880" actId="1035"/>
          <ac:spMkLst>
            <pc:docMk/>
            <pc:sldMk cId="4092582005" sldId="1111"/>
            <ac:spMk id="64" creationId="{73B83227-D744-CF41-8638-2A464A63D870}"/>
          </ac:spMkLst>
        </pc:spChg>
        <pc:spChg chg="mod">
          <ac:chgData name="Elsaker, Sheri" userId="03aeeb51-71af-4ec0-ba02-b4548e55d73c" providerId="ADAL" clId="{1514E898-93AE-43E9-A31B-1164B4C54D66}" dt="2022-10-27T12:41:05.363" v="5880" actId="1035"/>
          <ac:spMkLst>
            <pc:docMk/>
            <pc:sldMk cId="4092582005" sldId="1111"/>
            <ac:spMk id="66" creationId="{A9ABCEEE-3266-C441-9FEB-35E4FAA9575F}"/>
          </ac:spMkLst>
        </pc:spChg>
        <pc:spChg chg="mod">
          <ac:chgData name="Elsaker, Sheri" userId="03aeeb51-71af-4ec0-ba02-b4548e55d73c" providerId="ADAL" clId="{1514E898-93AE-43E9-A31B-1164B4C54D66}" dt="2022-10-27T12:41:05.363" v="5880" actId="1035"/>
          <ac:spMkLst>
            <pc:docMk/>
            <pc:sldMk cId="4092582005" sldId="1111"/>
            <ac:spMk id="67" creationId="{1C4F0F43-3620-1B44-9B3D-BBBC42BAF3C9}"/>
          </ac:spMkLst>
        </pc:spChg>
        <pc:spChg chg="mod">
          <ac:chgData name="Elsaker, Sheri" userId="03aeeb51-71af-4ec0-ba02-b4548e55d73c" providerId="ADAL" clId="{1514E898-93AE-43E9-A31B-1164B4C54D66}" dt="2022-10-27T16:45:47.959" v="8479" actId="1036"/>
          <ac:spMkLst>
            <pc:docMk/>
            <pc:sldMk cId="4092582005" sldId="1111"/>
            <ac:spMk id="69" creationId="{17F6E4FF-ED83-734F-960B-58D5D280E47C}"/>
          </ac:spMkLst>
        </pc:spChg>
        <pc:spChg chg="mod">
          <ac:chgData name="Elsaker, Sheri" userId="03aeeb51-71af-4ec0-ba02-b4548e55d73c" providerId="ADAL" clId="{1514E898-93AE-43E9-A31B-1164B4C54D66}" dt="2022-10-27T16:45:47.959" v="8479" actId="1036"/>
          <ac:spMkLst>
            <pc:docMk/>
            <pc:sldMk cId="4092582005" sldId="1111"/>
            <ac:spMk id="70" creationId="{9CBB027C-82D5-804B-863B-B3A06C16DA62}"/>
          </ac:spMkLst>
        </pc:spChg>
        <pc:spChg chg="mod">
          <ac:chgData name="Elsaker, Sheri" userId="03aeeb51-71af-4ec0-ba02-b4548e55d73c" providerId="ADAL" clId="{1514E898-93AE-43E9-A31B-1164B4C54D66}" dt="2022-10-27T12:41:05.363" v="5880" actId="1035"/>
          <ac:spMkLst>
            <pc:docMk/>
            <pc:sldMk cId="4092582005" sldId="1111"/>
            <ac:spMk id="71" creationId="{E50C8F51-87C2-3B4B-9972-0A74BE3231FF}"/>
          </ac:spMkLst>
        </pc:spChg>
        <pc:spChg chg="mod">
          <ac:chgData name="Elsaker, Sheri" userId="03aeeb51-71af-4ec0-ba02-b4548e55d73c" providerId="ADAL" clId="{1514E898-93AE-43E9-A31B-1164B4C54D66}" dt="2022-10-27T12:41:05.363" v="5880" actId="1035"/>
          <ac:spMkLst>
            <pc:docMk/>
            <pc:sldMk cId="4092582005" sldId="1111"/>
            <ac:spMk id="72" creationId="{FD03E786-8874-3D40-A781-5CED8D9EAF21}"/>
          </ac:spMkLst>
        </pc:spChg>
        <pc:spChg chg="mod">
          <ac:chgData name="Elsaker, Sheri" userId="03aeeb51-71af-4ec0-ba02-b4548e55d73c" providerId="ADAL" clId="{1514E898-93AE-43E9-A31B-1164B4C54D66}" dt="2022-10-27T12:41:05.363" v="5880" actId="1035"/>
          <ac:spMkLst>
            <pc:docMk/>
            <pc:sldMk cId="4092582005" sldId="1111"/>
            <ac:spMk id="73" creationId="{F9D03C20-CB3D-354D-B4DA-7DBF3AA40098}"/>
          </ac:spMkLst>
        </pc:spChg>
        <pc:grpChg chg="del">
          <ac:chgData name="Elsaker, Sheri" userId="03aeeb51-71af-4ec0-ba02-b4548e55d73c" providerId="ADAL" clId="{1514E898-93AE-43E9-A31B-1164B4C54D66}" dt="2022-10-25T18:50:29.892" v="3312" actId="478"/>
          <ac:grpSpMkLst>
            <pc:docMk/>
            <pc:sldMk cId="4092582005" sldId="1111"/>
            <ac:grpSpMk id="24" creationId="{3140EF27-6A05-4F3A-86C3-19CD3791ECEE}"/>
          </ac:grpSpMkLst>
        </pc:grpChg>
        <pc:grpChg chg="del">
          <ac:chgData name="Elsaker, Sheri" userId="03aeeb51-71af-4ec0-ba02-b4548e55d73c" providerId="ADAL" clId="{1514E898-93AE-43E9-A31B-1164B4C54D66}" dt="2022-10-25T18:50:38.188" v="3314" actId="478"/>
          <ac:grpSpMkLst>
            <pc:docMk/>
            <pc:sldMk cId="4092582005" sldId="1111"/>
            <ac:grpSpMk id="27" creationId="{90087901-1363-413F-8C70-11051D59AB99}"/>
          </ac:grpSpMkLst>
        </pc:grpChg>
        <pc:grpChg chg="del">
          <ac:chgData name="Elsaker, Sheri" userId="03aeeb51-71af-4ec0-ba02-b4548e55d73c" providerId="ADAL" clId="{1514E898-93AE-43E9-A31B-1164B4C54D66}" dt="2022-10-25T18:50:34.778" v="3313" actId="478"/>
          <ac:grpSpMkLst>
            <pc:docMk/>
            <pc:sldMk cId="4092582005" sldId="1111"/>
            <ac:grpSpMk id="34" creationId="{0CB276D8-A476-49C1-9166-5BAF2C9578F5}"/>
          </ac:grpSpMkLst>
        </pc:grpChg>
        <pc:cxnChg chg="mod">
          <ac:chgData name="Elsaker, Sheri" userId="03aeeb51-71af-4ec0-ba02-b4548e55d73c" providerId="ADAL" clId="{1514E898-93AE-43E9-A31B-1164B4C54D66}" dt="2022-10-27T16:45:47.959" v="8479" actId="1036"/>
          <ac:cxnSpMkLst>
            <pc:docMk/>
            <pc:sldMk cId="4092582005" sldId="1111"/>
            <ac:cxnSpMk id="5" creationId="{00000000-0000-0000-0000-000000000000}"/>
          </ac:cxnSpMkLst>
        </pc:cxnChg>
        <pc:cxnChg chg="mod">
          <ac:chgData name="Elsaker, Sheri" userId="03aeeb51-71af-4ec0-ba02-b4548e55d73c" providerId="ADAL" clId="{1514E898-93AE-43E9-A31B-1164B4C54D66}" dt="2022-10-27T12:41:05.363" v="5880" actId="1035"/>
          <ac:cxnSpMkLst>
            <pc:docMk/>
            <pc:sldMk cId="4092582005" sldId="1111"/>
            <ac:cxnSpMk id="74" creationId="{7FCFA17D-F7A4-7E4C-BEF0-59992BE78D25}"/>
          </ac:cxnSpMkLst>
        </pc:cxnChg>
        <pc:cxnChg chg="mod">
          <ac:chgData name="Elsaker, Sheri" userId="03aeeb51-71af-4ec0-ba02-b4548e55d73c" providerId="ADAL" clId="{1514E898-93AE-43E9-A31B-1164B4C54D66}" dt="2022-10-27T12:41:05.363" v="5880" actId="1035"/>
          <ac:cxnSpMkLst>
            <pc:docMk/>
            <pc:sldMk cId="4092582005" sldId="1111"/>
            <ac:cxnSpMk id="75" creationId="{D11C47E3-DCF6-BB42-872A-F154F912F2B7}"/>
          </ac:cxnSpMkLst>
        </pc:cxnChg>
        <pc:cxnChg chg="mod">
          <ac:chgData name="Elsaker, Sheri" userId="03aeeb51-71af-4ec0-ba02-b4548e55d73c" providerId="ADAL" clId="{1514E898-93AE-43E9-A31B-1164B4C54D66}" dt="2022-10-27T12:41:05.363" v="5880" actId="1035"/>
          <ac:cxnSpMkLst>
            <pc:docMk/>
            <pc:sldMk cId="4092582005" sldId="1111"/>
            <ac:cxnSpMk id="76" creationId="{07C14C6C-BAE5-EC4E-B979-C3B4BC7D4D4C}"/>
          </ac:cxnSpMkLst>
        </pc:cxnChg>
      </pc:sldChg>
      <pc:sldChg chg="del">
        <pc:chgData name="Elsaker, Sheri" userId="03aeeb51-71af-4ec0-ba02-b4548e55d73c" providerId="ADAL" clId="{1514E898-93AE-43E9-A31B-1164B4C54D66}" dt="2022-10-25T13:22:16.508" v="82" actId="47"/>
        <pc:sldMkLst>
          <pc:docMk/>
          <pc:sldMk cId="816324306" sldId="1790"/>
        </pc:sldMkLst>
      </pc:sldChg>
      <pc:sldChg chg="addSp delSp modSp mod ord modNotesTx">
        <pc:chgData name="Elsaker, Sheri" userId="03aeeb51-71af-4ec0-ba02-b4548e55d73c" providerId="ADAL" clId="{1514E898-93AE-43E9-A31B-1164B4C54D66}" dt="2022-10-27T15:23:30.108" v="7493" actId="20577"/>
        <pc:sldMkLst>
          <pc:docMk/>
          <pc:sldMk cId="3041223616" sldId="1791"/>
        </pc:sldMkLst>
        <pc:spChg chg="add del mod">
          <ac:chgData name="Elsaker, Sheri" userId="03aeeb51-71af-4ec0-ba02-b4548e55d73c" providerId="ADAL" clId="{1514E898-93AE-43E9-A31B-1164B4C54D66}" dt="2022-10-25T13:15:20.616" v="34" actId="931"/>
          <ac:spMkLst>
            <pc:docMk/>
            <pc:sldMk cId="3041223616" sldId="1791"/>
            <ac:spMk id="3" creationId="{60047F80-636A-4E14-9797-EC4666D18DC4}"/>
          </ac:spMkLst>
        </pc:spChg>
        <pc:spChg chg="del">
          <ac:chgData name="Elsaker, Sheri" userId="03aeeb51-71af-4ec0-ba02-b4548e55d73c" providerId="ADAL" clId="{1514E898-93AE-43E9-A31B-1164B4C54D66}" dt="2022-10-25T13:23:14.834" v="180" actId="478"/>
          <ac:spMkLst>
            <pc:docMk/>
            <pc:sldMk cId="3041223616" sldId="1791"/>
            <ac:spMk id="5" creationId="{5B17207E-7FD3-4B75-ADFE-CC565F8DB8A1}"/>
          </ac:spMkLst>
        </pc:spChg>
        <pc:spChg chg="add del mod">
          <ac:chgData name="Elsaker, Sheri" userId="03aeeb51-71af-4ec0-ba02-b4548e55d73c" providerId="ADAL" clId="{1514E898-93AE-43E9-A31B-1164B4C54D66}" dt="2022-10-25T13:19:10.750" v="53" actId="478"/>
          <ac:spMkLst>
            <pc:docMk/>
            <pc:sldMk cId="3041223616" sldId="1791"/>
            <ac:spMk id="7" creationId="{627E08BE-8FCD-466B-B24B-AAEFAD67C052}"/>
          </ac:spMkLst>
        </pc:spChg>
        <pc:spChg chg="del">
          <ac:chgData name="Elsaker, Sheri" userId="03aeeb51-71af-4ec0-ba02-b4548e55d73c" providerId="ADAL" clId="{1514E898-93AE-43E9-A31B-1164B4C54D66}" dt="2022-10-25T13:20:52.587" v="62" actId="478"/>
          <ac:spMkLst>
            <pc:docMk/>
            <pc:sldMk cId="3041223616" sldId="1791"/>
            <ac:spMk id="8" creationId="{94DC490F-38D1-413E-AC52-4556A0B43E68}"/>
          </ac:spMkLst>
        </pc:spChg>
        <pc:spChg chg="add del mod">
          <ac:chgData name="Elsaker, Sheri" userId="03aeeb51-71af-4ec0-ba02-b4548e55d73c" providerId="ADAL" clId="{1514E898-93AE-43E9-A31B-1164B4C54D66}" dt="2022-10-25T13:20:48.508" v="60" actId="478"/>
          <ac:spMkLst>
            <pc:docMk/>
            <pc:sldMk cId="3041223616" sldId="1791"/>
            <ac:spMk id="10" creationId="{EA41EC4A-B0EA-473D-90DB-39E81DD31E5A}"/>
          </ac:spMkLst>
        </pc:spChg>
        <pc:spChg chg="mod">
          <ac:chgData name="Elsaker, Sheri" userId="03aeeb51-71af-4ec0-ba02-b4548e55d73c" providerId="ADAL" clId="{1514E898-93AE-43E9-A31B-1164B4C54D66}" dt="2022-10-25T13:23:42.305" v="191" actId="113"/>
          <ac:spMkLst>
            <pc:docMk/>
            <pc:sldMk cId="3041223616" sldId="1791"/>
            <ac:spMk id="12" creationId="{C2F03B24-5911-487D-A541-83315BB92292}"/>
          </ac:spMkLst>
        </pc:spChg>
        <pc:spChg chg="add del mod">
          <ac:chgData name="Elsaker, Sheri" userId="03aeeb51-71af-4ec0-ba02-b4548e55d73c" providerId="ADAL" clId="{1514E898-93AE-43E9-A31B-1164B4C54D66}" dt="2022-10-25T13:19:12.607" v="54" actId="478"/>
          <ac:spMkLst>
            <pc:docMk/>
            <pc:sldMk cId="3041223616" sldId="1791"/>
            <ac:spMk id="14" creationId="{126CB9E4-EAC2-4000-B859-9D286A1ED2AD}"/>
          </ac:spMkLst>
        </pc:spChg>
        <pc:spChg chg="add mod">
          <ac:chgData name="Elsaker, Sheri" userId="03aeeb51-71af-4ec0-ba02-b4548e55d73c" providerId="ADAL" clId="{1514E898-93AE-43E9-A31B-1164B4C54D66}" dt="2022-10-25T13:22:06.566" v="79" actId="1076"/>
          <ac:spMkLst>
            <pc:docMk/>
            <pc:sldMk cId="3041223616" sldId="1791"/>
            <ac:spMk id="15" creationId="{C550D3E1-8C89-4134-B4E4-3D6E4F3DD87B}"/>
          </ac:spMkLst>
        </pc:spChg>
        <pc:spChg chg="add del mod">
          <ac:chgData name="Elsaker, Sheri" userId="03aeeb51-71af-4ec0-ba02-b4548e55d73c" providerId="ADAL" clId="{1514E898-93AE-43E9-A31B-1164B4C54D66}" dt="2022-10-25T13:22:11.826" v="81" actId="478"/>
          <ac:spMkLst>
            <pc:docMk/>
            <pc:sldMk cId="3041223616" sldId="1791"/>
            <ac:spMk id="18" creationId="{AC5583A7-351A-40F3-9FD4-F9A99C6C5DBA}"/>
          </ac:spMkLst>
        </pc:spChg>
        <pc:spChg chg="add del mod">
          <ac:chgData name="Elsaker, Sheri" userId="03aeeb51-71af-4ec0-ba02-b4548e55d73c" providerId="ADAL" clId="{1514E898-93AE-43E9-A31B-1164B4C54D66}" dt="2022-10-25T13:23:16.464" v="181" actId="478"/>
          <ac:spMkLst>
            <pc:docMk/>
            <pc:sldMk cId="3041223616" sldId="1791"/>
            <ac:spMk id="20" creationId="{E32641E1-9D8B-4C5F-B57A-229353742CEE}"/>
          </ac:spMkLst>
        </pc:spChg>
        <pc:picChg chg="add del mod ord modCrop">
          <ac:chgData name="Elsaker, Sheri" userId="03aeeb51-71af-4ec0-ba02-b4548e55d73c" providerId="ADAL" clId="{1514E898-93AE-43E9-A31B-1164B4C54D66}" dt="2022-10-25T13:18:51.397" v="49" actId="478"/>
          <ac:picMkLst>
            <pc:docMk/>
            <pc:sldMk cId="3041223616" sldId="1791"/>
            <ac:picMk id="6" creationId="{6E1CBDB4-739B-4D82-8F91-8206B8933D6E}"/>
          </ac:picMkLst>
        </pc:picChg>
        <pc:picChg chg="del">
          <ac:chgData name="Elsaker, Sheri" userId="03aeeb51-71af-4ec0-ba02-b4548e55d73c" providerId="ADAL" clId="{1514E898-93AE-43E9-A31B-1164B4C54D66}" dt="2022-10-25T13:14:56.725" v="33" actId="478"/>
          <ac:picMkLst>
            <pc:docMk/>
            <pc:sldMk cId="3041223616" sldId="1791"/>
            <ac:picMk id="9" creationId="{CCAB432B-E0E7-4F80-A4A1-76DCDC1FBF7B}"/>
          </ac:picMkLst>
        </pc:picChg>
        <pc:picChg chg="add del mod ord">
          <ac:chgData name="Elsaker, Sheri" userId="03aeeb51-71af-4ec0-ba02-b4548e55d73c" providerId="ADAL" clId="{1514E898-93AE-43E9-A31B-1164B4C54D66}" dt="2022-10-25T13:22:09.018" v="80" actId="478"/>
          <ac:picMkLst>
            <pc:docMk/>
            <pc:sldMk cId="3041223616" sldId="1791"/>
            <ac:picMk id="16" creationId="{0735E0F5-57A2-45D8-95D6-5FAA559A33CA}"/>
          </ac:picMkLst>
        </pc:picChg>
      </pc:sldChg>
      <pc:sldChg chg="modSp mod ord">
        <pc:chgData name="Elsaker, Sheri" userId="03aeeb51-71af-4ec0-ba02-b4548e55d73c" providerId="ADAL" clId="{1514E898-93AE-43E9-A31B-1164B4C54D66}" dt="2022-10-25T13:25:15.573" v="224" actId="20577"/>
        <pc:sldMkLst>
          <pc:docMk/>
          <pc:sldMk cId="1055701688" sldId="1792"/>
        </pc:sldMkLst>
        <pc:spChg chg="mod">
          <ac:chgData name="Elsaker, Sheri" userId="03aeeb51-71af-4ec0-ba02-b4548e55d73c" providerId="ADAL" clId="{1514E898-93AE-43E9-A31B-1164B4C54D66}" dt="2022-10-25T13:24:54.677" v="207" actId="20577"/>
          <ac:spMkLst>
            <pc:docMk/>
            <pc:sldMk cId="1055701688" sldId="1792"/>
            <ac:spMk id="2" creationId="{29AAFBA2-FC8F-4650-86AD-46C95B937B46}"/>
          </ac:spMkLst>
        </pc:spChg>
        <pc:spChg chg="mod">
          <ac:chgData name="Elsaker, Sheri" userId="03aeeb51-71af-4ec0-ba02-b4548e55d73c" providerId="ADAL" clId="{1514E898-93AE-43E9-A31B-1164B4C54D66}" dt="2022-10-25T13:24:57.306" v="211" actId="20577"/>
          <ac:spMkLst>
            <pc:docMk/>
            <pc:sldMk cId="1055701688" sldId="1792"/>
            <ac:spMk id="5" creationId="{A8955FF1-0CD5-4A56-BCD3-08FD69929E07}"/>
          </ac:spMkLst>
        </pc:spChg>
        <pc:spChg chg="mod">
          <ac:chgData name="Elsaker, Sheri" userId="03aeeb51-71af-4ec0-ba02-b4548e55d73c" providerId="ADAL" clId="{1514E898-93AE-43E9-A31B-1164B4C54D66}" dt="2022-10-25T13:25:00.975" v="216" actId="20577"/>
          <ac:spMkLst>
            <pc:docMk/>
            <pc:sldMk cId="1055701688" sldId="1792"/>
            <ac:spMk id="6" creationId="{C41F7D27-8EDD-4566-9BA4-EB0FE55BC221}"/>
          </ac:spMkLst>
        </pc:spChg>
        <pc:spChg chg="mod">
          <ac:chgData name="Elsaker, Sheri" userId="03aeeb51-71af-4ec0-ba02-b4548e55d73c" providerId="ADAL" clId="{1514E898-93AE-43E9-A31B-1164B4C54D66}" dt="2022-10-25T13:25:03.587" v="218" actId="20577"/>
          <ac:spMkLst>
            <pc:docMk/>
            <pc:sldMk cId="1055701688" sldId="1792"/>
            <ac:spMk id="7" creationId="{B35E0EB8-22CF-4E45-AEA0-02D21C8467F4}"/>
          </ac:spMkLst>
        </pc:spChg>
        <pc:spChg chg="mod">
          <ac:chgData name="Elsaker, Sheri" userId="03aeeb51-71af-4ec0-ba02-b4548e55d73c" providerId="ADAL" clId="{1514E898-93AE-43E9-A31B-1164B4C54D66}" dt="2022-10-25T13:25:06.728" v="220" actId="20577"/>
          <ac:spMkLst>
            <pc:docMk/>
            <pc:sldMk cId="1055701688" sldId="1792"/>
            <ac:spMk id="9" creationId="{2C6BE2B8-370E-4B27-8AD2-EB5751308E8B}"/>
          </ac:spMkLst>
        </pc:spChg>
        <pc:spChg chg="mod">
          <ac:chgData name="Elsaker, Sheri" userId="03aeeb51-71af-4ec0-ba02-b4548e55d73c" providerId="ADAL" clId="{1514E898-93AE-43E9-A31B-1164B4C54D66}" dt="2022-10-25T13:25:15.573" v="224" actId="20577"/>
          <ac:spMkLst>
            <pc:docMk/>
            <pc:sldMk cId="1055701688" sldId="1792"/>
            <ac:spMk id="11" creationId="{B6878C4C-3FAB-4BB8-A1F3-3C7F004303F2}"/>
          </ac:spMkLst>
        </pc:spChg>
        <pc:spChg chg="mod">
          <ac:chgData name="Elsaker, Sheri" userId="03aeeb51-71af-4ec0-ba02-b4548e55d73c" providerId="ADAL" clId="{1514E898-93AE-43E9-A31B-1164B4C54D66}" dt="2022-10-25T13:25:09.969" v="222" actId="20577"/>
          <ac:spMkLst>
            <pc:docMk/>
            <pc:sldMk cId="1055701688" sldId="1792"/>
            <ac:spMk id="13" creationId="{9EF20069-F198-4B18-8AED-BF724343DC8E}"/>
          </ac:spMkLst>
        </pc:spChg>
        <pc:spChg chg="mod">
          <ac:chgData name="Elsaker, Sheri" userId="03aeeb51-71af-4ec0-ba02-b4548e55d73c" providerId="ADAL" clId="{1514E898-93AE-43E9-A31B-1164B4C54D66}" dt="2022-10-25T13:24:40.044" v="203" actId="20577"/>
          <ac:spMkLst>
            <pc:docMk/>
            <pc:sldMk cId="1055701688" sldId="1792"/>
            <ac:spMk id="15" creationId="{00000000-0000-0000-0000-000000000000}"/>
          </ac:spMkLst>
        </pc:spChg>
      </pc:sldChg>
      <pc:sldChg chg="del">
        <pc:chgData name="Elsaker, Sheri" userId="03aeeb51-71af-4ec0-ba02-b4548e55d73c" providerId="ADAL" clId="{1514E898-93AE-43E9-A31B-1164B4C54D66}" dt="2022-10-25T13:25:28.805" v="225"/>
        <pc:sldMkLst>
          <pc:docMk/>
          <pc:sldMk cId="1158872728" sldId="1793"/>
        </pc:sldMkLst>
      </pc:sldChg>
      <pc:sldChg chg="addSp modSp mod ord">
        <pc:chgData name="Elsaker, Sheri" userId="03aeeb51-71af-4ec0-ba02-b4548e55d73c" providerId="ADAL" clId="{1514E898-93AE-43E9-A31B-1164B4C54D66}" dt="2022-10-27T12:11:26.023" v="4377"/>
        <pc:sldMkLst>
          <pc:docMk/>
          <pc:sldMk cId="3623613034" sldId="1793"/>
        </pc:sldMkLst>
        <pc:spChg chg="mod">
          <ac:chgData name="Elsaker, Sheri" userId="03aeeb51-71af-4ec0-ba02-b4548e55d73c" providerId="ADAL" clId="{1514E898-93AE-43E9-A31B-1164B4C54D66}" dt="2022-10-25T13:28:38.469" v="256" actId="2710"/>
          <ac:spMkLst>
            <pc:docMk/>
            <pc:sldMk cId="3623613034" sldId="1793"/>
            <ac:spMk id="2" creationId="{29AAFBA2-FC8F-4650-86AD-46C95B937B46}"/>
          </ac:spMkLst>
        </pc:spChg>
        <pc:spChg chg="mod">
          <ac:chgData name="Elsaker, Sheri" userId="03aeeb51-71af-4ec0-ba02-b4548e55d73c" providerId="ADAL" clId="{1514E898-93AE-43E9-A31B-1164B4C54D66}" dt="2022-10-25T13:28:18.414" v="248" actId="20577"/>
          <ac:spMkLst>
            <pc:docMk/>
            <pc:sldMk cId="3623613034" sldId="1793"/>
            <ac:spMk id="5" creationId="{A8955FF1-0CD5-4A56-BCD3-08FD69929E07}"/>
          </ac:spMkLst>
        </pc:spChg>
        <pc:spChg chg="mod">
          <ac:chgData name="Elsaker, Sheri" userId="03aeeb51-71af-4ec0-ba02-b4548e55d73c" providerId="ADAL" clId="{1514E898-93AE-43E9-A31B-1164B4C54D66}" dt="2022-10-25T13:28:20.063" v="249" actId="20577"/>
          <ac:spMkLst>
            <pc:docMk/>
            <pc:sldMk cId="3623613034" sldId="1793"/>
            <ac:spMk id="6" creationId="{C41F7D27-8EDD-4566-9BA4-EB0FE55BC221}"/>
          </ac:spMkLst>
        </pc:spChg>
        <pc:spChg chg="mod">
          <ac:chgData name="Elsaker, Sheri" userId="03aeeb51-71af-4ec0-ba02-b4548e55d73c" providerId="ADAL" clId="{1514E898-93AE-43E9-A31B-1164B4C54D66}" dt="2022-10-25T13:31:12.651" v="285" actId="20577"/>
          <ac:spMkLst>
            <pc:docMk/>
            <pc:sldMk cId="3623613034" sldId="1793"/>
            <ac:spMk id="7" creationId="{B35E0EB8-22CF-4E45-AEA0-02D21C8467F4}"/>
          </ac:spMkLst>
        </pc:spChg>
        <pc:spChg chg="mod">
          <ac:chgData name="Elsaker, Sheri" userId="03aeeb51-71af-4ec0-ba02-b4548e55d73c" providerId="ADAL" clId="{1514E898-93AE-43E9-A31B-1164B4C54D66}" dt="2022-10-25T13:29:44.250" v="258" actId="207"/>
          <ac:spMkLst>
            <pc:docMk/>
            <pc:sldMk cId="3623613034" sldId="1793"/>
            <ac:spMk id="9" creationId="{2C6BE2B8-370E-4B27-8AD2-EB5751308E8B}"/>
          </ac:spMkLst>
        </pc:spChg>
        <pc:spChg chg="mod">
          <ac:chgData name="Elsaker, Sheri" userId="03aeeb51-71af-4ec0-ba02-b4548e55d73c" providerId="ADAL" clId="{1514E898-93AE-43E9-A31B-1164B4C54D66}" dt="2022-10-25T13:28:32.510" v="255" actId="20577"/>
          <ac:spMkLst>
            <pc:docMk/>
            <pc:sldMk cId="3623613034" sldId="1793"/>
            <ac:spMk id="11" creationId="{B6878C4C-3FAB-4BB8-A1F3-3C7F004303F2}"/>
          </ac:spMkLst>
        </pc:spChg>
        <pc:spChg chg="add mod">
          <ac:chgData name="Elsaker, Sheri" userId="03aeeb51-71af-4ec0-ba02-b4548e55d73c" providerId="ADAL" clId="{1514E898-93AE-43E9-A31B-1164B4C54D66}" dt="2022-10-25T13:30:02.049" v="262" actId="20577"/>
          <ac:spMkLst>
            <pc:docMk/>
            <pc:sldMk cId="3623613034" sldId="1793"/>
            <ac:spMk id="12" creationId="{F2ADD005-50E6-4940-AC1D-2349D8B9EFDD}"/>
          </ac:spMkLst>
        </pc:spChg>
        <pc:spChg chg="mod">
          <ac:chgData name="Elsaker, Sheri" userId="03aeeb51-71af-4ec0-ba02-b4548e55d73c" providerId="ADAL" clId="{1514E898-93AE-43E9-A31B-1164B4C54D66}" dt="2022-10-25T13:28:29.489" v="254" actId="20577"/>
          <ac:spMkLst>
            <pc:docMk/>
            <pc:sldMk cId="3623613034" sldId="1793"/>
            <ac:spMk id="13" creationId="{9EF20069-F198-4B18-8AED-BF724343DC8E}"/>
          </ac:spMkLst>
        </pc:spChg>
        <pc:spChg chg="add mod">
          <ac:chgData name="Elsaker, Sheri" userId="03aeeb51-71af-4ec0-ba02-b4548e55d73c" providerId="ADAL" clId="{1514E898-93AE-43E9-A31B-1164B4C54D66}" dt="2022-10-25T13:30:04.571" v="264" actId="20577"/>
          <ac:spMkLst>
            <pc:docMk/>
            <pc:sldMk cId="3623613034" sldId="1793"/>
            <ac:spMk id="14" creationId="{7E4FF5F7-65ED-493F-B6E1-1445EB2DEC35}"/>
          </ac:spMkLst>
        </pc:spChg>
        <pc:spChg chg="add mod">
          <ac:chgData name="Elsaker, Sheri" userId="03aeeb51-71af-4ec0-ba02-b4548e55d73c" providerId="ADAL" clId="{1514E898-93AE-43E9-A31B-1164B4C54D66}" dt="2022-10-25T13:30:07.065" v="268" actId="20577"/>
          <ac:spMkLst>
            <pc:docMk/>
            <pc:sldMk cId="3623613034" sldId="1793"/>
            <ac:spMk id="16" creationId="{F01001F1-EA0B-47B5-8BF4-2D37A4FD1BAB}"/>
          </ac:spMkLst>
        </pc:spChg>
        <pc:spChg chg="add mod">
          <ac:chgData name="Elsaker, Sheri" userId="03aeeb51-71af-4ec0-ba02-b4548e55d73c" providerId="ADAL" clId="{1514E898-93AE-43E9-A31B-1164B4C54D66}" dt="2022-10-25T13:31:34.864" v="291" actId="20577"/>
          <ac:spMkLst>
            <pc:docMk/>
            <pc:sldMk cId="3623613034" sldId="1793"/>
            <ac:spMk id="17" creationId="{D804354C-8868-4E3E-ACB8-1763BB09D585}"/>
          </ac:spMkLst>
        </pc:spChg>
        <pc:spChg chg="add mod">
          <ac:chgData name="Elsaker, Sheri" userId="03aeeb51-71af-4ec0-ba02-b4548e55d73c" providerId="ADAL" clId="{1514E898-93AE-43E9-A31B-1164B4C54D66}" dt="2022-10-25T13:31:37.182" v="293" actId="20577"/>
          <ac:spMkLst>
            <pc:docMk/>
            <pc:sldMk cId="3623613034" sldId="1793"/>
            <ac:spMk id="18" creationId="{1FD14418-8950-4AF2-863D-68CDE339CDBD}"/>
          </ac:spMkLst>
        </pc:spChg>
        <pc:spChg chg="add mod">
          <ac:chgData name="Elsaker, Sheri" userId="03aeeb51-71af-4ec0-ba02-b4548e55d73c" providerId="ADAL" clId="{1514E898-93AE-43E9-A31B-1164B4C54D66}" dt="2022-10-25T13:31:43.383" v="297" actId="20577"/>
          <ac:spMkLst>
            <pc:docMk/>
            <pc:sldMk cId="3623613034" sldId="1793"/>
            <ac:spMk id="19" creationId="{48CF854C-1902-4DEF-AF86-D11CC394CDFA}"/>
          </ac:spMkLst>
        </pc:spChg>
        <pc:spChg chg="add mod">
          <ac:chgData name="Elsaker, Sheri" userId="03aeeb51-71af-4ec0-ba02-b4548e55d73c" providerId="ADAL" clId="{1514E898-93AE-43E9-A31B-1164B4C54D66}" dt="2022-10-25T13:31:39.747" v="295" actId="20577"/>
          <ac:spMkLst>
            <pc:docMk/>
            <pc:sldMk cId="3623613034" sldId="1793"/>
            <ac:spMk id="20" creationId="{9C351B4B-0443-4EB1-9B99-7595FF2F9D65}"/>
          </ac:spMkLst>
        </pc:spChg>
      </pc:sldChg>
      <pc:sldChg chg="addSp delSp modSp new del mod">
        <pc:chgData name="Elsaker, Sheri" userId="03aeeb51-71af-4ec0-ba02-b4548e55d73c" providerId="ADAL" clId="{1514E898-93AE-43E9-A31B-1164B4C54D66}" dt="2022-10-25T18:41:35.031" v="2945" actId="47"/>
        <pc:sldMkLst>
          <pc:docMk/>
          <pc:sldMk cId="3597167681" sldId="1795"/>
        </pc:sldMkLst>
        <pc:spChg chg="add del mod">
          <ac:chgData name="Elsaker, Sheri" userId="03aeeb51-71af-4ec0-ba02-b4548e55d73c" providerId="ADAL" clId="{1514E898-93AE-43E9-A31B-1164B4C54D66}" dt="2022-10-25T18:39:53.997" v="2896" actId="14100"/>
          <ac:spMkLst>
            <pc:docMk/>
            <pc:sldMk cId="3597167681" sldId="1795"/>
            <ac:spMk id="2" creationId="{BF40DC8C-EF7A-4F71-9499-D1E9CB30A6AE}"/>
          </ac:spMkLst>
        </pc:spChg>
        <pc:spChg chg="mod">
          <ac:chgData name="Elsaker, Sheri" userId="03aeeb51-71af-4ec0-ba02-b4548e55d73c" providerId="ADAL" clId="{1514E898-93AE-43E9-A31B-1164B4C54D66}" dt="2022-10-25T13:40:37.064" v="550" actId="20577"/>
          <ac:spMkLst>
            <pc:docMk/>
            <pc:sldMk cId="3597167681" sldId="1795"/>
            <ac:spMk id="3" creationId="{125C3B82-DADE-45A0-9E33-61F6A90E21B8}"/>
          </ac:spMkLst>
        </pc:spChg>
        <pc:spChg chg="add del mod">
          <ac:chgData name="Elsaker, Sheri" userId="03aeeb51-71af-4ec0-ba02-b4548e55d73c" providerId="ADAL" clId="{1514E898-93AE-43E9-A31B-1164B4C54D66}" dt="2022-10-25T18:39:55.912" v="2897" actId="478"/>
          <ac:spMkLst>
            <pc:docMk/>
            <pc:sldMk cId="3597167681" sldId="1795"/>
            <ac:spMk id="4" creationId="{104BEB35-A45D-4B42-BDA9-D9ED2F592757}"/>
          </ac:spMkLst>
        </pc:spChg>
        <pc:spChg chg="add del mod">
          <ac:chgData name="Elsaker, Sheri" userId="03aeeb51-71af-4ec0-ba02-b4548e55d73c" providerId="ADAL" clId="{1514E898-93AE-43E9-A31B-1164B4C54D66}" dt="2022-10-25T18:39:35.525" v="2842" actId="478"/>
          <ac:spMkLst>
            <pc:docMk/>
            <pc:sldMk cId="3597167681" sldId="1795"/>
            <ac:spMk id="6" creationId="{9131FA50-F3FE-4F91-AE57-173533D7C78D}"/>
          </ac:spMkLst>
        </pc:spChg>
      </pc:sldChg>
      <pc:sldChg chg="addSp delSp modSp del mod">
        <pc:chgData name="Elsaker, Sheri" userId="03aeeb51-71af-4ec0-ba02-b4548e55d73c" providerId="ADAL" clId="{1514E898-93AE-43E9-A31B-1164B4C54D66}" dt="2022-10-25T18:26:08.128" v="2598" actId="47"/>
        <pc:sldMkLst>
          <pc:docMk/>
          <pc:sldMk cId="2912956650" sldId="1796"/>
        </pc:sldMkLst>
        <pc:spChg chg="del mod">
          <ac:chgData name="Elsaker, Sheri" userId="03aeeb51-71af-4ec0-ba02-b4548e55d73c" providerId="ADAL" clId="{1514E898-93AE-43E9-A31B-1164B4C54D66}" dt="2022-10-25T13:43:35.946" v="915" actId="478"/>
          <ac:spMkLst>
            <pc:docMk/>
            <pc:sldMk cId="2912956650" sldId="1796"/>
            <ac:spMk id="2" creationId="{BF40DC8C-EF7A-4F71-9499-D1E9CB30A6AE}"/>
          </ac:spMkLst>
        </pc:spChg>
        <pc:spChg chg="mod">
          <ac:chgData name="Elsaker, Sheri" userId="03aeeb51-71af-4ec0-ba02-b4548e55d73c" providerId="ADAL" clId="{1514E898-93AE-43E9-A31B-1164B4C54D66}" dt="2022-10-25T13:42:46.180" v="910" actId="20577"/>
          <ac:spMkLst>
            <pc:docMk/>
            <pc:sldMk cId="2912956650" sldId="1796"/>
            <ac:spMk id="3" creationId="{125C3B82-DADE-45A0-9E33-61F6A90E21B8}"/>
          </ac:spMkLst>
        </pc:spChg>
        <pc:spChg chg="mod">
          <ac:chgData name="Elsaker, Sheri" userId="03aeeb51-71af-4ec0-ba02-b4548e55d73c" providerId="ADAL" clId="{1514E898-93AE-43E9-A31B-1164B4C54D66}" dt="2022-10-25T16:12:16.355" v="1084" actId="1076"/>
          <ac:spMkLst>
            <pc:docMk/>
            <pc:sldMk cId="2912956650" sldId="1796"/>
            <ac:spMk id="4" creationId="{104BEB35-A45D-4B42-BDA9-D9ED2F592757}"/>
          </ac:spMkLst>
        </pc:spChg>
        <pc:spChg chg="add mod">
          <ac:chgData name="Elsaker, Sheri" userId="03aeeb51-71af-4ec0-ba02-b4548e55d73c" providerId="ADAL" clId="{1514E898-93AE-43E9-A31B-1164B4C54D66}" dt="2022-10-25T17:56:56.700" v="1109" actId="14100"/>
          <ac:spMkLst>
            <pc:docMk/>
            <pc:sldMk cId="2912956650" sldId="1796"/>
            <ac:spMk id="5" creationId="{B50F0BF4-08EC-4EA8-BA92-505BB09DDE54}"/>
          </ac:spMkLst>
        </pc:spChg>
        <pc:picChg chg="add mod modCrop">
          <ac:chgData name="Elsaker, Sheri" userId="03aeeb51-71af-4ec0-ba02-b4548e55d73c" providerId="ADAL" clId="{1514E898-93AE-43E9-A31B-1164B4C54D66}" dt="2022-10-25T13:43:53.177" v="920" actId="14100"/>
          <ac:picMkLst>
            <pc:docMk/>
            <pc:sldMk cId="2912956650" sldId="1796"/>
            <ac:picMk id="6" creationId="{41BBE128-9590-4287-B713-C2AFA199BC9C}"/>
          </ac:picMkLst>
        </pc:picChg>
      </pc:sldChg>
      <pc:sldChg chg="addSp delSp modSp del mod ord">
        <pc:chgData name="Elsaker, Sheri" userId="03aeeb51-71af-4ec0-ba02-b4548e55d73c" providerId="ADAL" clId="{1514E898-93AE-43E9-A31B-1164B4C54D66}" dt="2022-10-25T14:13:06.542" v="1075" actId="47"/>
        <pc:sldMkLst>
          <pc:docMk/>
          <pc:sldMk cId="1818640091" sldId="2131"/>
        </pc:sldMkLst>
        <pc:spChg chg="add mod">
          <ac:chgData name="Elsaker, Sheri" userId="03aeeb51-71af-4ec0-ba02-b4548e55d73c" providerId="ADAL" clId="{1514E898-93AE-43E9-A31B-1164B4C54D66}" dt="2022-10-25T14:10:54.887" v="1057" actId="14100"/>
          <ac:spMkLst>
            <pc:docMk/>
            <pc:sldMk cId="1818640091" sldId="2131"/>
            <ac:spMk id="5" creationId="{6CAAA38E-8512-4335-92DF-9AD758EF2B03}"/>
          </ac:spMkLst>
        </pc:spChg>
        <pc:spChg chg="del mod">
          <ac:chgData name="Elsaker, Sheri" userId="03aeeb51-71af-4ec0-ba02-b4548e55d73c" providerId="ADAL" clId="{1514E898-93AE-43E9-A31B-1164B4C54D66}" dt="2022-10-25T14:10:30.183" v="1050" actId="478"/>
          <ac:spMkLst>
            <pc:docMk/>
            <pc:sldMk cId="1818640091" sldId="2131"/>
            <ac:spMk id="12" creationId="{D8231759-F388-43F4-AAE1-D3658DD1DAE6}"/>
          </ac:spMkLst>
        </pc:spChg>
        <pc:spChg chg="mod">
          <ac:chgData name="Elsaker, Sheri" userId="03aeeb51-71af-4ec0-ba02-b4548e55d73c" providerId="ADAL" clId="{1514E898-93AE-43E9-A31B-1164B4C54D66}" dt="2022-10-25T14:10:27.659" v="1049" actId="20577"/>
          <ac:spMkLst>
            <pc:docMk/>
            <pc:sldMk cId="1818640091" sldId="2131"/>
            <ac:spMk id="14" creationId="{450B7D14-A683-4D72-849C-D4C26C9167E0}"/>
          </ac:spMkLst>
        </pc:spChg>
        <pc:spChg chg="add mod">
          <ac:chgData name="Elsaker, Sheri" userId="03aeeb51-71af-4ec0-ba02-b4548e55d73c" providerId="ADAL" clId="{1514E898-93AE-43E9-A31B-1164B4C54D66}" dt="2022-10-25T14:12:29.725" v="1073" actId="1036"/>
          <ac:spMkLst>
            <pc:docMk/>
            <pc:sldMk cId="1818640091" sldId="2131"/>
            <ac:spMk id="20" creationId="{4688C229-EE92-4CE5-95C8-DEABA3C58CB1}"/>
          </ac:spMkLst>
        </pc:spChg>
        <pc:spChg chg="add mod ord">
          <ac:chgData name="Elsaker, Sheri" userId="03aeeb51-71af-4ec0-ba02-b4548e55d73c" providerId="ADAL" clId="{1514E898-93AE-43E9-A31B-1164B4C54D66}" dt="2022-10-25T14:11:45.871" v="1066" actId="167"/>
          <ac:spMkLst>
            <pc:docMk/>
            <pc:sldMk cId="1818640091" sldId="2131"/>
            <ac:spMk id="21" creationId="{720B4B36-6FA6-4F7F-9388-51E2261A0526}"/>
          </ac:spMkLst>
        </pc:spChg>
        <pc:spChg chg="add mod ord">
          <ac:chgData name="Elsaker, Sheri" userId="03aeeb51-71af-4ec0-ba02-b4548e55d73c" providerId="ADAL" clId="{1514E898-93AE-43E9-A31B-1164B4C54D66}" dt="2022-10-25T14:11:41.775" v="1064" actId="167"/>
          <ac:spMkLst>
            <pc:docMk/>
            <pc:sldMk cId="1818640091" sldId="2131"/>
            <ac:spMk id="22" creationId="{C25B68DE-A95D-4EF2-BD82-723E606423EB}"/>
          </ac:spMkLst>
        </pc:spChg>
        <pc:spChg chg="mod">
          <ac:chgData name="Elsaker, Sheri" userId="03aeeb51-71af-4ec0-ba02-b4548e55d73c" providerId="ADAL" clId="{1514E898-93AE-43E9-A31B-1164B4C54D66}" dt="2022-10-25T14:09:34.527" v="960" actId="20577"/>
          <ac:spMkLst>
            <pc:docMk/>
            <pc:sldMk cId="1818640091" sldId="2131"/>
            <ac:spMk id="23" creationId="{491D5C6F-02CC-4F6C-B98E-3CB1CC8ABBD4}"/>
          </ac:spMkLst>
        </pc:spChg>
        <pc:spChg chg="mod">
          <ac:chgData name="Elsaker, Sheri" userId="03aeeb51-71af-4ec0-ba02-b4548e55d73c" providerId="ADAL" clId="{1514E898-93AE-43E9-A31B-1164B4C54D66}" dt="2022-10-25T14:10:16.725" v="1017" actId="20577"/>
          <ac:spMkLst>
            <pc:docMk/>
            <pc:sldMk cId="1818640091" sldId="2131"/>
            <ac:spMk id="24" creationId="{F1D4CAD7-1BC1-4C37-AE18-94F770E8CF6E}"/>
          </ac:spMkLst>
        </pc:spChg>
        <pc:spChg chg="mod">
          <ac:chgData name="Elsaker, Sheri" userId="03aeeb51-71af-4ec0-ba02-b4548e55d73c" providerId="ADAL" clId="{1514E898-93AE-43E9-A31B-1164B4C54D66}" dt="2022-10-25T14:10:09.732" v="1003" actId="20577"/>
          <ac:spMkLst>
            <pc:docMk/>
            <pc:sldMk cId="1818640091" sldId="2131"/>
            <ac:spMk id="36" creationId="{D740AE6C-6EF3-44CB-AB6D-7512FDED6799}"/>
          </ac:spMkLst>
        </pc:spChg>
        <pc:grpChg chg="del">
          <ac:chgData name="Elsaker, Sheri" userId="03aeeb51-71af-4ec0-ba02-b4548e55d73c" providerId="ADAL" clId="{1514E898-93AE-43E9-A31B-1164B4C54D66}" dt="2022-10-25T14:06:10.073" v="921" actId="478"/>
          <ac:grpSpMkLst>
            <pc:docMk/>
            <pc:sldMk cId="1818640091" sldId="2131"/>
            <ac:grpSpMk id="11" creationId="{66732B65-0EAE-4D27-A2CB-4B81CF5C89EC}"/>
          </ac:grpSpMkLst>
        </pc:grpChg>
        <pc:picChg chg="del mod">
          <ac:chgData name="Elsaker, Sheri" userId="03aeeb51-71af-4ec0-ba02-b4548e55d73c" providerId="ADAL" clId="{1514E898-93AE-43E9-A31B-1164B4C54D66}" dt="2022-10-25T14:11:47.082" v="1067" actId="478"/>
          <ac:picMkLst>
            <pc:docMk/>
            <pc:sldMk cId="1818640091" sldId="2131"/>
            <ac:picMk id="9" creationId="{5FFA4F37-96D9-409B-8422-E8D2441A0ECC}"/>
          </ac:picMkLst>
        </pc:picChg>
        <pc:picChg chg="del mod">
          <ac:chgData name="Elsaker, Sheri" userId="03aeeb51-71af-4ec0-ba02-b4548e55d73c" providerId="ADAL" clId="{1514E898-93AE-43E9-A31B-1164B4C54D66}" dt="2022-10-25T14:11:43.370" v="1065" actId="478"/>
          <ac:picMkLst>
            <pc:docMk/>
            <pc:sldMk cId="1818640091" sldId="2131"/>
            <ac:picMk id="1026" creationId="{0A8ED9E3-E576-43EF-97FC-91772448533B}"/>
          </ac:picMkLst>
        </pc:picChg>
        <pc:picChg chg="del">
          <ac:chgData name="Elsaker, Sheri" userId="03aeeb51-71af-4ec0-ba02-b4548e55d73c" providerId="ADAL" clId="{1514E898-93AE-43E9-A31B-1164B4C54D66}" dt="2022-10-25T14:10:31.239" v="1051" actId="478"/>
          <ac:picMkLst>
            <pc:docMk/>
            <pc:sldMk cId="1818640091" sldId="2131"/>
            <ac:picMk id="49154" creationId="{E605298B-0AB0-44F8-9431-EF8ABAC1B32F}"/>
          </ac:picMkLst>
        </pc:picChg>
        <pc:cxnChg chg="add del mod">
          <ac:chgData name="Elsaker, Sheri" userId="03aeeb51-71af-4ec0-ba02-b4548e55d73c" providerId="ADAL" clId="{1514E898-93AE-43E9-A31B-1164B4C54D66}" dt="2022-10-25T14:12:32.069" v="1074" actId="478"/>
          <ac:cxnSpMkLst>
            <pc:docMk/>
            <pc:sldMk cId="1818640091" sldId="2131"/>
            <ac:cxnSpMk id="13" creationId="{3FA401BB-6784-407F-B2C6-EE6120C18CBD}"/>
          </ac:cxnSpMkLst>
        </pc:cxnChg>
      </pc:sldChg>
      <pc:sldChg chg="addSp delSp modSp new del mod">
        <pc:chgData name="Elsaker, Sheri" userId="03aeeb51-71af-4ec0-ba02-b4548e55d73c" providerId="ADAL" clId="{1514E898-93AE-43E9-A31B-1164B4C54D66}" dt="2022-10-25T14:14:03.720" v="1083" actId="47"/>
        <pc:sldMkLst>
          <pc:docMk/>
          <pc:sldMk cId="2191814883" sldId="2132"/>
        </pc:sldMkLst>
        <pc:spChg chg="add del mod">
          <ac:chgData name="Elsaker, Sheri" userId="03aeeb51-71af-4ec0-ba02-b4548e55d73c" providerId="ADAL" clId="{1514E898-93AE-43E9-A31B-1164B4C54D66}" dt="2022-10-25T14:07:50.025" v="927" actId="478"/>
          <ac:spMkLst>
            <pc:docMk/>
            <pc:sldMk cId="2191814883" sldId="2132"/>
            <ac:spMk id="2" creationId="{AB222DF9-545F-473A-A06D-5D0EA2589723}"/>
          </ac:spMkLst>
        </pc:spChg>
        <pc:spChg chg="add del mod">
          <ac:chgData name="Elsaker, Sheri" userId="03aeeb51-71af-4ec0-ba02-b4548e55d73c" providerId="ADAL" clId="{1514E898-93AE-43E9-A31B-1164B4C54D66}" dt="2022-10-25T14:07:47.960" v="926" actId="478"/>
          <ac:spMkLst>
            <pc:docMk/>
            <pc:sldMk cId="2191814883" sldId="2132"/>
            <ac:spMk id="3" creationId="{E5CE634C-BD7E-4262-9445-25CC5AD80AB0}"/>
          </ac:spMkLst>
        </pc:spChg>
        <pc:spChg chg="add mod">
          <ac:chgData name="Elsaker, Sheri" userId="03aeeb51-71af-4ec0-ba02-b4548e55d73c" providerId="ADAL" clId="{1514E898-93AE-43E9-A31B-1164B4C54D66}" dt="2022-10-25T14:07:23.904" v="923"/>
          <ac:spMkLst>
            <pc:docMk/>
            <pc:sldMk cId="2191814883" sldId="2132"/>
            <ac:spMk id="4" creationId="{068B33EF-6C8B-475E-8811-F618B67593F8}"/>
          </ac:spMkLst>
        </pc:spChg>
        <pc:spChg chg="add mod">
          <ac:chgData name="Elsaker, Sheri" userId="03aeeb51-71af-4ec0-ba02-b4548e55d73c" providerId="ADAL" clId="{1514E898-93AE-43E9-A31B-1164B4C54D66}" dt="2022-10-25T14:07:23.904" v="923"/>
          <ac:spMkLst>
            <pc:docMk/>
            <pc:sldMk cId="2191814883" sldId="2132"/>
            <ac:spMk id="5" creationId="{5E2A48DA-9F66-4DA5-B68E-3A9421310842}"/>
          </ac:spMkLst>
        </pc:spChg>
        <pc:spChg chg="add mod">
          <ac:chgData name="Elsaker, Sheri" userId="03aeeb51-71af-4ec0-ba02-b4548e55d73c" providerId="ADAL" clId="{1514E898-93AE-43E9-A31B-1164B4C54D66}" dt="2022-10-25T14:07:23.904" v="923"/>
          <ac:spMkLst>
            <pc:docMk/>
            <pc:sldMk cId="2191814883" sldId="2132"/>
            <ac:spMk id="6" creationId="{AE68F12C-F50D-477A-BDF8-4F396437D5D3}"/>
          </ac:spMkLst>
        </pc:spChg>
        <pc:spChg chg="add mod">
          <ac:chgData name="Elsaker, Sheri" userId="03aeeb51-71af-4ec0-ba02-b4548e55d73c" providerId="ADAL" clId="{1514E898-93AE-43E9-A31B-1164B4C54D66}" dt="2022-10-25T14:07:23.904" v="923"/>
          <ac:spMkLst>
            <pc:docMk/>
            <pc:sldMk cId="2191814883" sldId="2132"/>
            <ac:spMk id="7" creationId="{E747A56A-9966-4D7E-B89D-FA69927714DF}"/>
          </ac:spMkLst>
        </pc:spChg>
        <pc:spChg chg="add mod">
          <ac:chgData name="Elsaker, Sheri" userId="03aeeb51-71af-4ec0-ba02-b4548e55d73c" providerId="ADAL" clId="{1514E898-93AE-43E9-A31B-1164B4C54D66}" dt="2022-10-25T14:07:23.904" v="923"/>
          <ac:spMkLst>
            <pc:docMk/>
            <pc:sldMk cId="2191814883" sldId="2132"/>
            <ac:spMk id="9" creationId="{F033C46F-B196-48B7-B6C5-65A4843EDCA8}"/>
          </ac:spMkLst>
        </pc:spChg>
        <pc:spChg chg="add mod">
          <ac:chgData name="Elsaker, Sheri" userId="03aeeb51-71af-4ec0-ba02-b4548e55d73c" providerId="ADAL" clId="{1514E898-93AE-43E9-A31B-1164B4C54D66}" dt="2022-10-25T14:07:23.904" v="923"/>
          <ac:spMkLst>
            <pc:docMk/>
            <pc:sldMk cId="2191814883" sldId="2132"/>
            <ac:spMk id="10" creationId="{8B7C3220-4F72-42EA-97B9-0C511D1B79F3}"/>
          </ac:spMkLst>
        </pc:spChg>
        <pc:spChg chg="add mod">
          <ac:chgData name="Elsaker, Sheri" userId="03aeeb51-71af-4ec0-ba02-b4548e55d73c" providerId="ADAL" clId="{1514E898-93AE-43E9-A31B-1164B4C54D66}" dt="2022-10-25T14:07:23.904" v="923"/>
          <ac:spMkLst>
            <pc:docMk/>
            <pc:sldMk cId="2191814883" sldId="2132"/>
            <ac:spMk id="15" creationId="{5117F25F-4076-41E6-A814-7441D821896A}"/>
          </ac:spMkLst>
        </pc:spChg>
        <pc:spChg chg="add del mod">
          <ac:chgData name="Elsaker, Sheri" userId="03aeeb51-71af-4ec0-ba02-b4548e55d73c" providerId="ADAL" clId="{1514E898-93AE-43E9-A31B-1164B4C54D66}" dt="2022-10-25T14:07:45.540" v="925"/>
          <ac:spMkLst>
            <pc:docMk/>
            <pc:sldMk cId="2191814883" sldId="2132"/>
            <ac:spMk id="16" creationId="{6041F954-E099-4DA6-856D-99F8F5C951D5}"/>
          </ac:spMkLst>
        </pc:spChg>
        <pc:spChg chg="add del mod">
          <ac:chgData name="Elsaker, Sheri" userId="03aeeb51-71af-4ec0-ba02-b4548e55d73c" providerId="ADAL" clId="{1514E898-93AE-43E9-A31B-1164B4C54D66}" dt="2022-10-25T14:07:45.540" v="925"/>
          <ac:spMkLst>
            <pc:docMk/>
            <pc:sldMk cId="2191814883" sldId="2132"/>
            <ac:spMk id="17" creationId="{217C0987-E218-4E93-B4B2-2F5C3EAFDD33}"/>
          </ac:spMkLst>
        </pc:spChg>
        <pc:spChg chg="add mod">
          <ac:chgData name="Elsaker, Sheri" userId="03aeeb51-71af-4ec0-ba02-b4548e55d73c" providerId="ADAL" clId="{1514E898-93AE-43E9-A31B-1164B4C54D66}" dt="2022-10-25T14:08:04.471" v="928"/>
          <ac:spMkLst>
            <pc:docMk/>
            <pc:sldMk cId="2191814883" sldId="2132"/>
            <ac:spMk id="18" creationId="{83453B20-AC6A-48F1-8B19-6BE1FEBB6999}"/>
          </ac:spMkLst>
        </pc:spChg>
        <pc:spChg chg="add del mod">
          <ac:chgData name="Elsaker, Sheri" userId="03aeeb51-71af-4ec0-ba02-b4548e55d73c" providerId="ADAL" clId="{1514E898-93AE-43E9-A31B-1164B4C54D66}" dt="2022-10-25T14:08:19.856" v="931" actId="478"/>
          <ac:spMkLst>
            <pc:docMk/>
            <pc:sldMk cId="2191814883" sldId="2132"/>
            <ac:spMk id="19" creationId="{C0C1F1FC-4ED8-421A-B8D8-310F24D81FB3}"/>
          </ac:spMkLst>
        </pc:spChg>
        <pc:picChg chg="add mod">
          <ac:chgData name="Elsaker, Sheri" userId="03aeeb51-71af-4ec0-ba02-b4548e55d73c" providerId="ADAL" clId="{1514E898-93AE-43E9-A31B-1164B4C54D66}" dt="2022-10-25T14:07:23.904" v="923"/>
          <ac:picMkLst>
            <pc:docMk/>
            <pc:sldMk cId="2191814883" sldId="2132"/>
            <ac:picMk id="8" creationId="{8E4C8CF0-FFE6-4357-9F01-3916CD99BE62}"/>
          </ac:picMkLst>
        </pc:picChg>
        <pc:picChg chg="add mod">
          <ac:chgData name="Elsaker, Sheri" userId="03aeeb51-71af-4ec0-ba02-b4548e55d73c" providerId="ADAL" clId="{1514E898-93AE-43E9-A31B-1164B4C54D66}" dt="2022-10-25T14:07:23.904" v="923"/>
          <ac:picMkLst>
            <pc:docMk/>
            <pc:sldMk cId="2191814883" sldId="2132"/>
            <ac:picMk id="11" creationId="{2CC5A96F-CABB-4284-A61F-77F8D9130C36}"/>
          </ac:picMkLst>
        </pc:picChg>
        <pc:picChg chg="add mod">
          <ac:chgData name="Elsaker, Sheri" userId="03aeeb51-71af-4ec0-ba02-b4548e55d73c" providerId="ADAL" clId="{1514E898-93AE-43E9-A31B-1164B4C54D66}" dt="2022-10-25T14:07:23.904" v="923"/>
          <ac:picMkLst>
            <pc:docMk/>
            <pc:sldMk cId="2191814883" sldId="2132"/>
            <ac:picMk id="12" creationId="{2C4DB167-FD5F-4106-BAFF-66CF0326D8E6}"/>
          </ac:picMkLst>
        </pc:picChg>
        <pc:picChg chg="add mod">
          <ac:chgData name="Elsaker, Sheri" userId="03aeeb51-71af-4ec0-ba02-b4548e55d73c" providerId="ADAL" clId="{1514E898-93AE-43E9-A31B-1164B4C54D66}" dt="2022-10-25T14:07:23.904" v="923"/>
          <ac:picMkLst>
            <pc:docMk/>
            <pc:sldMk cId="2191814883" sldId="2132"/>
            <ac:picMk id="13" creationId="{989D3096-7737-45A8-95F1-9BDA2D14CE6E}"/>
          </ac:picMkLst>
        </pc:picChg>
        <pc:picChg chg="add mod">
          <ac:chgData name="Elsaker, Sheri" userId="03aeeb51-71af-4ec0-ba02-b4548e55d73c" providerId="ADAL" clId="{1514E898-93AE-43E9-A31B-1164B4C54D66}" dt="2022-10-25T14:07:23.904" v="923"/>
          <ac:picMkLst>
            <pc:docMk/>
            <pc:sldMk cId="2191814883" sldId="2132"/>
            <ac:picMk id="14" creationId="{3BA505ED-45C1-4FF4-91EE-4494760D5DBF}"/>
          </ac:picMkLst>
        </pc:picChg>
      </pc:sldChg>
      <pc:sldChg chg="delSp modSp del">
        <pc:chgData name="Elsaker, Sheri" userId="03aeeb51-71af-4ec0-ba02-b4548e55d73c" providerId="ADAL" clId="{1514E898-93AE-43E9-A31B-1164B4C54D66}" dt="2022-10-25T14:14:02.522" v="1082" actId="47"/>
        <pc:sldMkLst>
          <pc:docMk/>
          <pc:sldMk cId="765690550" sldId="2133"/>
        </pc:sldMkLst>
        <pc:spChg chg="del">
          <ac:chgData name="Elsaker, Sheri" userId="03aeeb51-71af-4ec0-ba02-b4548e55d73c" providerId="ADAL" clId="{1514E898-93AE-43E9-A31B-1164B4C54D66}" dt="2022-10-25T14:13:45.753" v="1078"/>
          <ac:spMkLst>
            <pc:docMk/>
            <pc:sldMk cId="765690550" sldId="2133"/>
            <ac:spMk id="16" creationId="{E2E32236-11B3-4D90-B1ED-14F2A20B6AEB}"/>
          </ac:spMkLst>
        </pc:spChg>
        <pc:spChg chg="del">
          <ac:chgData name="Elsaker, Sheri" userId="03aeeb51-71af-4ec0-ba02-b4548e55d73c" providerId="ADAL" clId="{1514E898-93AE-43E9-A31B-1164B4C54D66}" dt="2022-10-25T14:13:45.753" v="1078"/>
          <ac:spMkLst>
            <pc:docMk/>
            <pc:sldMk cId="765690550" sldId="2133"/>
            <ac:spMk id="17" creationId="{FF52D437-CFD1-44BD-B8D3-9D232F878F08}"/>
          </ac:spMkLst>
        </pc:spChg>
        <pc:spChg chg="del mod">
          <ac:chgData name="Elsaker, Sheri" userId="03aeeb51-71af-4ec0-ba02-b4548e55d73c" providerId="ADAL" clId="{1514E898-93AE-43E9-A31B-1164B4C54D66}" dt="2022-10-25T14:13:45.753" v="1078"/>
          <ac:spMkLst>
            <pc:docMk/>
            <pc:sldMk cId="765690550" sldId="2133"/>
            <ac:spMk id="18" creationId="{E865556F-FA86-4909-A8C0-63B6AEF45642}"/>
          </ac:spMkLst>
        </pc:spChg>
        <pc:spChg chg="del mod">
          <ac:chgData name="Elsaker, Sheri" userId="03aeeb51-71af-4ec0-ba02-b4548e55d73c" providerId="ADAL" clId="{1514E898-93AE-43E9-A31B-1164B4C54D66}" dt="2022-10-25T14:13:45.753" v="1078"/>
          <ac:spMkLst>
            <pc:docMk/>
            <pc:sldMk cId="765690550" sldId="2133"/>
            <ac:spMk id="19" creationId="{46EBA18C-8227-4A29-BBB3-5178C8717A1B}"/>
          </ac:spMkLst>
        </pc:spChg>
        <pc:spChg chg="del">
          <ac:chgData name="Elsaker, Sheri" userId="03aeeb51-71af-4ec0-ba02-b4548e55d73c" providerId="ADAL" clId="{1514E898-93AE-43E9-A31B-1164B4C54D66}" dt="2022-10-25T14:13:45.753" v="1078"/>
          <ac:spMkLst>
            <pc:docMk/>
            <pc:sldMk cId="765690550" sldId="2133"/>
            <ac:spMk id="25" creationId="{4440002B-EA35-4E2B-B0CA-E267823E4631}"/>
          </ac:spMkLst>
        </pc:spChg>
        <pc:spChg chg="del">
          <ac:chgData name="Elsaker, Sheri" userId="03aeeb51-71af-4ec0-ba02-b4548e55d73c" providerId="ADAL" clId="{1514E898-93AE-43E9-A31B-1164B4C54D66}" dt="2022-10-25T14:13:45.753" v="1078"/>
          <ac:spMkLst>
            <pc:docMk/>
            <pc:sldMk cId="765690550" sldId="2133"/>
            <ac:spMk id="26" creationId="{7CE829EB-9DF1-424D-A9E7-ABEB9C101F33}"/>
          </ac:spMkLst>
        </pc:spChg>
        <pc:spChg chg="del">
          <ac:chgData name="Elsaker, Sheri" userId="03aeeb51-71af-4ec0-ba02-b4548e55d73c" providerId="ADAL" clId="{1514E898-93AE-43E9-A31B-1164B4C54D66}" dt="2022-10-25T14:13:45.753" v="1078"/>
          <ac:spMkLst>
            <pc:docMk/>
            <pc:sldMk cId="765690550" sldId="2133"/>
            <ac:spMk id="27" creationId="{150052BD-A1A9-4A9B-B1D2-2BAD0759A958}"/>
          </ac:spMkLst>
        </pc:spChg>
        <pc:spChg chg="del">
          <ac:chgData name="Elsaker, Sheri" userId="03aeeb51-71af-4ec0-ba02-b4548e55d73c" providerId="ADAL" clId="{1514E898-93AE-43E9-A31B-1164B4C54D66}" dt="2022-10-25T14:13:45.753" v="1078"/>
          <ac:spMkLst>
            <pc:docMk/>
            <pc:sldMk cId="765690550" sldId="2133"/>
            <ac:spMk id="28" creationId="{79E9CBD6-1BE3-4BBF-AAAB-0F0FCF8DE9D4}"/>
          </ac:spMkLst>
        </pc:spChg>
        <pc:spChg chg="del">
          <ac:chgData name="Elsaker, Sheri" userId="03aeeb51-71af-4ec0-ba02-b4548e55d73c" providerId="ADAL" clId="{1514E898-93AE-43E9-A31B-1164B4C54D66}" dt="2022-10-25T14:13:45.753" v="1078"/>
          <ac:spMkLst>
            <pc:docMk/>
            <pc:sldMk cId="765690550" sldId="2133"/>
            <ac:spMk id="31" creationId="{4F61C109-728F-46E7-8D99-253CF8695A5E}"/>
          </ac:spMkLst>
        </pc:spChg>
        <pc:spChg chg="del">
          <ac:chgData name="Elsaker, Sheri" userId="03aeeb51-71af-4ec0-ba02-b4548e55d73c" providerId="ADAL" clId="{1514E898-93AE-43E9-A31B-1164B4C54D66}" dt="2022-10-25T14:13:45.753" v="1078"/>
          <ac:spMkLst>
            <pc:docMk/>
            <pc:sldMk cId="765690550" sldId="2133"/>
            <ac:spMk id="32" creationId="{164E826A-5DF4-4B39-B9BA-9F0F2A03C036}"/>
          </ac:spMkLst>
        </pc:spChg>
        <pc:spChg chg="del">
          <ac:chgData name="Elsaker, Sheri" userId="03aeeb51-71af-4ec0-ba02-b4548e55d73c" providerId="ADAL" clId="{1514E898-93AE-43E9-A31B-1164B4C54D66}" dt="2022-10-25T14:13:45.753" v="1078"/>
          <ac:spMkLst>
            <pc:docMk/>
            <pc:sldMk cId="765690550" sldId="2133"/>
            <ac:spMk id="33" creationId="{6BFE4CB7-A5D7-4F02-883C-038CB96ADEC4}"/>
          </ac:spMkLst>
        </pc:spChg>
        <pc:picChg chg="del">
          <ac:chgData name="Elsaker, Sheri" userId="03aeeb51-71af-4ec0-ba02-b4548e55d73c" providerId="ADAL" clId="{1514E898-93AE-43E9-A31B-1164B4C54D66}" dt="2022-10-25T14:13:45.753" v="1078"/>
          <ac:picMkLst>
            <pc:docMk/>
            <pc:sldMk cId="765690550" sldId="2133"/>
            <ac:picMk id="29" creationId="{DECB088B-BDE5-415C-9367-1CAB96D5279B}"/>
          </ac:picMkLst>
        </pc:picChg>
        <pc:picChg chg="del">
          <ac:chgData name="Elsaker, Sheri" userId="03aeeb51-71af-4ec0-ba02-b4548e55d73c" providerId="ADAL" clId="{1514E898-93AE-43E9-A31B-1164B4C54D66}" dt="2022-10-25T14:13:45.753" v="1078"/>
          <ac:picMkLst>
            <pc:docMk/>
            <pc:sldMk cId="765690550" sldId="2133"/>
            <ac:picMk id="30" creationId="{CB5981AD-02FA-4DD5-B6E4-6D0FC978207C}"/>
          </ac:picMkLst>
        </pc:picChg>
      </pc:sldChg>
      <pc:sldChg chg="addSp modSp new mod modNotesTx">
        <pc:chgData name="Elsaker, Sheri" userId="03aeeb51-71af-4ec0-ba02-b4548e55d73c" providerId="ADAL" clId="{1514E898-93AE-43E9-A31B-1164B4C54D66}" dt="2022-10-27T15:24:11.069" v="7529" actId="20577"/>
        <pc:sldMkLst>
          <pc:docMk/>
          <pc:sldMk cId="3904207690" sldId="2135"/>
        </pc:sldMkLst>
        <pc:spChg chg="add mod">
          <ac:chgData name="Elsaker, Sheri" userId="03aeeb51-71af-4ec0-ba02-b4548e55d73c" providerId="ADAL" clId="{1514E898-93AE-43E9-A31B-1164B4C54D66}" dt="2022-10-25T14:13:36.322" v="1077"/>
          <ac:spMkLst>
            <pc:docMk/>
            <pc:sldMk cId="3904207690" sldId="2135"/>
            <ac:spMk id="2" creationId="{BFE4988E-EC2F-461F-833A-E7246FD43DFB}"/>
          </ac:spMkLst>
        </pc:spChg>
        <pc:spChg chg="add mod">
          <ac:chgData name="Elsaker, Sheri" userId="03aeeb51-71af-4ec0-ba02-b4548e55d73c" providerId="ADAL" clId="{1514E898-93AE-43E9-A31B-1164B4C54D66}" dt="2022-10-25T14:13:36.322" v="1077"/>
          <ac:spMkLst>
            <pc:docMk/>
            <pc:sldMk cId="3904207690" sldId="2135"/>
            <ac:spMk id="3" creationId="{E75FEF0B-DB80-4291-A3F1-F5F01D29ED30}"/>
          </ac:spMkLst>
        </pc:spChg>
        <pc:spChg chg="add mod">
          <ac:chgData name="Elsaker, Sheri" userId="03aeeb51-71af-4ec0-ba02-b4548e55d73c" providerId="ADAL" clId="{1514E898-93AE-43E9-A31B-1164B4C54D66}" dt="2022-10-25T18:45:18.375" v="2969" actId="20577"/>
          <ac:spMkLst>
            <pc:docMk/>
            <pc:sldMk cId="3904207690" sldId="2135"/>
            <ac:spMk id="4" creationId="{A7F1E0C2-F53B-4721-BB1D-9414B4FC9609}"/>
          </ac:spMkLst>
        </pc:spChg>
        <pc:spChg chg="add mod">
          <ac:chgData name="Elsaker, Sheri" userId="03aeeb51-71af-4ec0-ba02-b4548e55d73c" providerId="ADAL" clId="{1514E898-93AE-43E9-A31B-1164B4C54D66}" dt="2022-10-25T14:13:36.322" v="1077"/>
          <ac:spMkLst>
            <pc:docMk/>
            <pc:sldMk cId="3904207690" sldId="2135"/>
            <ac:spMk id="5" creationId="{2AFFCB3C-E27F-4B5F-80EA-A32B6EE110EC}"/>
          </ac:spMkLst>
        </pc:spChg>
        <pc:spChg chg="add mod">
          <ac:chgData name="Elsaker, Sheri" userId="03aeeb51-71af-4ec0-ba02-b4548e55d73c" providerId="ADAL" clId="{1514E898-93AE-43E9-A31B-1164B4C54D66}" dt="2022-10-25T14:13:36.322" v="1077"/>
          <ac:spMkLst>
            <pc:docMk/>
            <pc:sldMk cId="3904207690" sldId="2135"/>
            <ac:spMk id="6" creationId="{70B155E1-97D1-40DC-953B-53A472054E58}"/>
          </ac:spMkLst>
        </pc:spChg>
        <pc:spChg chg="add mod">
          <ac:chgData name="Elsaker, Sheri" userId="03aeeb51-71af-4ec0-ba02-b4548e55d73c" providerId="ADAL" clId="{1514E898-93AE-43E9-A31B-1164B4C54D66}" dt="2022-10-25T14:13:36.322" v="1077"/>
          <ac:spMkLst>
            <pc:docMk/>
            <pc:sldMk cId="3904207690" sldId="2135"/>
            <ac:spMk id="7" creationId="{4099C6AE-A747-4FFF-8E0B-8AA07879A072}"/>
          </ac:spMkLst>
        </pc:spChg>
        <pc:spChg chg="add mod">
          <ac:chgData name="Elsaker, Sheri" userId="03aeeb51-71af-4ec0-ba02-b4548e55d73c" providerId="ADAL" clId="{1514E898-93AE-43E9-A31B-1164B4C54D66}" dt="2022-10-27T15:24:11.069" v="7529" actId="20577"/>
          <ac:spMkLst>
            <pc:docMk/>
            <pc:sldMk cId="3904207690" sldId="2135"/>
            <ac:spMk id="8" creationId="{920A127D-2720-4AB3-A987-25869DCE7B9E}"/>
          </ac:spMkLst>
        </pc:spChg>
        <pc:spChg chg="add mod">
          <ac:chgData name="Elsaker, Sheri" userId="03aeeb51-71af-4ec0-ba02-b4548e55d73c" providerId="ADAL" clId="{1514E898-93AE-43E9-A31B-1164B4C54D66}" dt="2022-10-25T14:13:36.322" v="1077"/>
          <ac:spMkLst>
            <pc:docMk/>
            <pc:sldMk cId="3904207690" sldId="2135"/>
            <ac:spMk id="9" creationId="{F9D79797-7CFA-41D1-8926-C8DE6AECF515}"/>
          </ac:spMkLst>
        </pc:spChg>
        <pc:spChg chg="add mod">
          <ac:chgData name="Elsaker, Sheri" userId="03aeeb51-71af-4ec0-ba02-b4548e55d73c" providerId="ADAL" clId="{1514E898-93AE-43E9-A31B-1164B4C54D66}" dt="2022-10-25T14:13:36.322" v="1077"/>
          <ac:spMkLst>
            <pc:docMk/>
            <pc:sldMk cId="3904207690" sldId="2135"/>
            <ac:spMk id="12" creationId="{97F7505A-D6DF-4457-906E-34A49550126C}"/>
          </ac:spMkLst>
        </pc:spChg>
        <pc:spChg chg="add mod">
          <ac:chgData name="Elsaker, Sheri" userId="03aeeb51-71af-4ec0-ba02-b4548e55d73c" providerId="ADAL" clId="{1514E898-93AE-43E9-A31B-1164B4C54D66}" dt="2022-10-25T14:13:36.322" v="1077"/>
          <ac:spMkLst>
            <pc:docMk/>
            <pc:sldMk cId="3904207690" sldId="2135"/>
            <ac:spMk id="13" creationId="{F8F5BCF5-7BC3-4AC1-8F0A-802F42F0A6BF}"/>
          </ac:spMkLst>
        </pc:spChg>
        <pc:spChg chg="add mod">
          <ac:chgData name="Elsaker, Sheri" userId="03aeeb51-71af-4ec0-ba02-b4548e55d73c" providerId="ADAL" clId="{1514E898-93AE-43E9-A31B-1164B4C54D66}" dt="2022-10-25T14:13:36.322" v="1077"/>
          <ac:spMkLst>
            <pc:docMk/>
            <pc:sldMk cId="3904207690" sldId="2135"/>
            <ac:spMk id="14" creationId="{820ADE9D-1B99-4427-BA6B-BD73448635BD}"/>
          </ac:spMkLst>
        </pc:spChg>
        <pc:picChg chg="add mod">
          <ac:chgData name="Elsaker, Sheri" userId="03aeeb51-71af-4ec0-ba02-b4548e55d73c" providerId="ADAL" clId="{1514E898-93AE-43E9-A31B-1164B4C54D66}" dt="2022-10-25T14:13:36.322" v="1077"/>
          <ac:picMkLst>
            <pc:docMk/>
            <pc:sldMk cId="3904207690" sldId="2135"/>
            <ac:picMk id="10" creationId="{0911E445-D1A2-4FEB-8671-C4988D04BA32}"/>
          </ac:picMkLst>
        </pc:picChg>
        <pc:picChg chg="add mod">
          <ac:chgData name="Elsaker, Sheri" userId="03aeeb51-71af-4ec0-ba02-b4548e55d73c" providerId="ADAL" clId="{1514E898-93AE-43E9-A31B-1164B4C54D66}" dt="2022-10-25T14:13:36.322" v="1077"/>
          <ac:picMkLst>
            <pc:docMk/>
            <pc:sldMk cId="3904207690" sldId="2135"/>
            <ac:picMk id="11" creationId="{1A7C79FC-965F-4C6F-8C54-ED57B2CD022F}"/>
          </ac:picMkLst>
        </pc:picChg>
        <pc:picChg chg="add mod">
          <ac:chgData name="Elsaker, Sheri" userId="03aeeb51-71af-4ec0-ba02-b4548e55d73c" providerId="ADAL" clId="{1514E898-93AE-43E9-A31B-1164B4C54D66}" dt="2022-10-25T18:43:12.162" v="2950" actId="14100"/>
          <ac:picMkLst>
            <pc:docMk/>
            <pc:sldMk cId="3904207690" sldId="2135"/>
            <ac:picMk id="1026" creationId="{63B9FEEF-683E-483E-9444-0A6C83D47E8C}"/>
          </ac:picMkLst>
        </pc:picChg>
        <pc:picChg chg="add mod">
          <ac:chgData name="Elsaker, Sheri" userId="03aeeb51-71af-4ec0-ba02-b4548e55d73c" providerId="ADAL" clId="{1514E898-93AE-43E9-A31B-1164B4C54D66}" dt="2022-10-25T18:44:00.963" v="2954" actId="14100"/>
          <ac:picMkLst>
            <pc:docMk/>
            <pc:sldMk cId="3904207690" sldId="2135"/>
            <ac:picMk id="1028" creationId="{9669BF1C-2A4F-4ACC-AE8E-816F24A6CB04}"/>
          </ac:picMkLst>
        </pc:picChg>
        <pc:picChg chg="add mod">
          <ac:chgData name="Elsaker, Sheri" userId="03aeeb51-71af-4ec0-ba02-b4548e55d73c" providerId="ADAL" clId="{1514E898-93AE-43E9-A31B-1164B4C54D66}" dt="2022-10-25T19:12:51.983" v="3551" actId="14100"/>
          <ac:picMkLst>
            <pc:docMk/>
            <pc:sldMk cId="3904207690" sldId="2135"/>
            <ac:picMk id="1030" creationId="{F7656DE5-6AFB-4852-8F56-AF480A723C86}"/>
          </ac:picMkLst>
        </pc:picChg>
      </pc:sldChg>
      <pc:sldChg chg="addSp modSp new del">
        <pc:chgData name="Elsaker, Sheri" userId="03aeeb51-71af-4ec0-ba02-b4548e55d73c" providerId="ADAL" clId="{1514E898-93AE-43E9-A31B-1164B4C54D66}" dt="2022-10-25T14:14:00.865" v="1081" actId="47"/>
        <pc:sldMkLst>
          <pc:docMk/>
          <pc:sldMk cId="769116916" sldId="2136"/>
        </pc:sldMkLst>
        <pc:spChg chg="add mod">
          <ac:chgData name="Elsaker, Sheri" userId="03aeeb51-71af-4ec0-ba02-b4548e55d73c" providerId="ADAL" clId="{1514E898-93AE-43E9-A31B-1164B4C54D66}" dt="2022-10-25T14:13:55.925" v="1080"/>
          <ac:spMkLst>
            <pc:docMk/>
            <pc:sldMk cId="769116916" sldId="2136"/>
            <ac:spMk id="2" creationId="{F0AC1084-8F8F-4924-82BC-33DDC6D5A958}"/>
          </ac:spMkLst>
        </pc:spChg>
        <pc:spChg chg="add mod">
          <ac:chgData name="Elsaker, Sheri" userId="03aeeb51-71af-4ec0-ba02-b4548e55d73c" providerId="ADAL" clId="{1514E898-93AE-43E9-A31B-1164B4C54D66}" dt="2022-10-25T14:13:55.925" v="1080"/>
          <ac:spMkLst>
            <pc:docMk/>
            <pc:sldMk cId="769116916" sldId="2136"/>
            <ac:spMk id="3" creationId="{255D58E8-4D7B-44E1-AA2D-645A7F2D3057}"/>
          </ac:spMkLst>
        </pc:spChg>
        <pc:spChg chg="add mod">
          <ac:chgData name="Elsaker, Sheri" userId="03aeeb51-71af-4ec0-ba02-b4548e55d73c" providerId="ADAL" clId="{1514E898-93AE-43E9-A31B-1164B4C54D66}" dt="2022-10-25T14:13:55.925" v="1080"/>
          <ac:spMkLst>
            <pc:docMk/>
            <pc:sldMk cId="769116916" sldId="2136"/>
            <ac:spMk id="4" creationId="{8807CBC2-F3B5-42BA-9664-15895A949C55}"/>
          </ac:spMkLst>
        </pc:spChg>
        <pc:spChg chg="add mod">
          <ac:chgData name="Elsaker, Sheri" userId="03aeeb51-71af-4ec0-ba02-b4548e55d73c" providerId="ADAL" clId="{1514E898-93AE-43E9-A31B-1164B4C54D66}" dt="2022-10-25T14:13:55.925" v="1080"/>
          <ac:spMkLst>
            <pc:docMk/>
            <pc:sldMk cId="769116916" sldId="2136"/>
            <ac:spMk id="5" creationId="{66734A10-EF74-4C32-9E12-40FA92F8558A}"/>
          </ac:spMkLst>
        </pc:spChg>
        <pc:spChg chg="add mod">
          <ac:chgData name="Elsaker, Sheri" userId="03aeeb51-71af-4ec0-ba02-b4548e55d73c" providerId="ADAL" clId="{1514E898-93AE-43E9-A31B-1164B4C54D66}" dt="2022-10-25T14:13:55.925" v="1080"/>
          <ac:spMkLst>
            <pc:docMk/>
            <pc:sldMk cId="769116916" sldId="2136"/>
            <ac:spMk id="6" creationId="{1DA4CA22-DA75-419A-BDE6-2CEF94499FC1}"/>
          </ac:spMkLst>
        </pc:spChg>
        <pc:spChg chg="add mod">
          <ac:chgData name="Elsaker, Sheri" userId="03aeeb51-71af-4ec0-ba02-b4548e55d73c" providerId="ADAL" clId="{1514E898-93AE-43E9-A31B-1164B4C54D66}" dt="2022-10-25T14:13:55.925" v="1080"/>
          <ac:spMkLst>
            <pc:docMk/>
            <pc:sldMk cId="769116916" sldId="2136"/>
            <ac:spMk id="7" creationId="{544BAE7D-6699-4496-9E30-F33F3F6AFFC0}"/>
          </ac:spMkLst>
        </pc:spChg>
        <pc:spChg chg="add mod">
          <ac:chgData name="Elsaker, Sheri" userId="03aeeb51-71af-4ec0-ba02-b4548e55d73c" providerId="ADAL" clId="{1514E898-93AE-43E9-A31B-1164B4C54D66}" dt="2022-10-25T14:13:55.925" v="1080"/>
          <ac:spMkLst>
            <pc:docMk/>
            <pc:sldMk cId="769116916" sldId="2136"/>
            <ac:spMk id="8" creationId="{4FA09E5C-6BC2-45EE-9EFD-27737CF5B150}"/>
          </ac:spMkLst>
        </pc:spChg>
        <pc:spChg chg="add mod">
          <ac:chgData name="Elsaker, Sheri" userId="03aeeb51-71af-4ec0-ba02-b4548e55d73c" providerId="ADAL" clId="{1514E898-93AE-43E9-A31B-1164B4C54D66}" dt="2022-10-25T14:13:55.925" v="1080"/>
          <ac:spMkLst>
            <pc:docMk/>
            <pc:sldMk cId="769116916" sldId="2136"/>
            <ac:spMk id="9" creationId="{6621E76C-4EA3-44BD-9354-D0947A528D39}"/>
          </ac:spMkLst>
        </pc:spChg>
        <pc:spChg chg="add mod">
          <ac:chgData name="Elsaker, Sheri" userId="03aeeb51-71af-4ec0-ba02-b4548e55d73c" providerId="ADAL" clId="{1514E898-93AE-43E9-A31B-1164B4C54D66}" dt="2022-10-25T14:13:55.925" v="1080"/>
          <ac:spMkLst>
            <pc:docMk/>
            <pc:sldMk cId="769116916" sldId="2136"/>
            <ac:spMk id="12" creationId="{92651F63-E9CF-402C-8180-E242419F502D}"/>
          </ac:spMkLst>
        </pc:spChg>
        <pc:spChg chg="add mod">
          <ac:chgData name="Elsaker, Sheri" userId="03aeeb51-71af-4ec0-ba02-b4548e55d73c" providerId="ADAL" clId="{1514E898-93AE-43E9-A31B-1164B4C54D66}" dt="2022-10-25T14:13:55.925" v="1080"/>
          <ac:spMkLst>
            <pc:docMk/>
            <pc:sldMk cId="769116916" sldId="2136"/>
            <ac:spMk id="13" creationId="{861E2ACE-C75B-4633-AC94-D5D82D59D748}"/>
          </ac:spMkLst>
        </pc:spChg>
        <pc:spChg chg="add mod">
          <ac:chgData name="Elsaker, Sheri" userId="03aeeb51-71af-4ec0-ba02-b4548e55d73c" providerId="ADAL" clId="{1514E898-93AE-43E9-A31B-1164B4C54D66}" dt="2022-10-25T14:13:55.925" v="1080"/>
          <ac:spMkLst>
            <pc:docMk/>
            <pc:sldMk cId="769116916" sldId="2136"/>
            <ac:spMk id="14" creationId="{E305AA67-191A-40CA-A60C-3DB3335D2C04}"/>
          </ac:spMkLst>
        </pc:spChg>
        <pc:picChg chg="add mod">
          <ac:chgData name="Elsaker, Sheri" userId="03aeeb51-71af-4ec0-ba02-b4548e55d73c" providerId="ADAL" clId="{1514E898-93AE-43E9-A31B-1164B4C54D66}" dt="2022-10-25T14:13:55.925" v="1080"/>
          <ac:picMkLst>
            <pc:docMk/>
            <pc:sldMk cId="769116916" sldId="2136"/>
            <ac:picMk id="10" creationId="{7B540CDD-3209-4EBD-AA66-E53568A0C3E1}"/>
          </ac:picMkLst>
        </pc:picChg>
        <pc:picChg chg="add mod">
          <ac:chgData name="Elsaker, Sheri" userId="03aeeb51-71af-4ec0-ba02-b4548e55d73c" providerId="ADAL" clId="{1514E898-93AE-43E9-A31B-1164B4C54D66}" dt="2022-10-25T14:13:55.925" v="1080"/>
          <ac:picMkLst>
            <pc:docMk/>
            <pc:sldMk cId="769116916" sldId="2136"/>
            <ac:picMk id="11" creationId="{29913846-3EC0-4E04-933C-14CD8823993E}"/>
          </ac:picMkLst>
        </pc:picChg>
      </pc:sldChg>
      <pc:sldChg chg="addSp delSp modSp new mod modNotesTx">
        <pc:chgData name="Elsaker, Sheri" userId="03aeeb51-71af-4ec0-ba02-b4548e55d73c" providerId="ADAL" clId="{1514E898-93AE-43E9-A31B-1164B4C54D66}" dt="2022-10-27T12:20:38.744" v="4976" actId="20577"/>
        <pc:sldMkLst>
          <pc:docMk/>
          <pc:sldMk cId="1519144107" sldId="2136"/>
        </pc:sldMkLst>
        <pc:spChg chg="add mod">
          <ac:chgData name="Elsaker, Sheri" userId="03aeeb51-71af-4ec0-ba02-b4548e55d73c" providerId="ADAL" clId="{1514E898-93AE-43E9-A31B-1164B4C54D66}" dt="2022-10-27T12:19:46.496" v="4941" actId="1038"/>
          <ac:spMkLst>
            <pc:docMk/>
            <pc:sldMk cId="1519144107" sldId="2136"/>
            <ac:spMk id="4" creationId="{5525CB07-3800-4A97-85E3-0AE7D72A0DE4}"/>
          </ac:spMkLst>
        </pc:spChg>
        <pc:spChg chg="add mod">
          <ac:chgData name="Elsaker, Sheri" userId="03aeeb51-71af-4ec0-ba02-b4548e55d73c" providerId="ADAL" clId="{1514E898-93AE-43E9-A31B-1164B4C54D66}" dt="2022-10-27T12:18:31.789" v="4872" actId="14100"/>
          <ac:spMkLst>
            <pc:docMk/>
            <pc:sldMk cId="1519144107" sldId="2136"/>
            <ac:spMk id="5" creationId="{4F555DBF-F3DA-43C3-A3DF-6797286A6EE7}"/>
          </ac:spMkLst>
        </pc:spChg>
        <pc:spChg chg="add mod">
          <ac:chgData name="Elsaker, Sheri" userId="03aeeb51-71af-4ec0-ba02-b4548e55d73c" providerId="ADAL" clId="{1514E898-93AE-43E9-A31B-1164B4C54D66}" dt="2022-10-27T12:16:12.038" v="4682" actId="1035"/>
          <ac:spMkLst>
            <pc:docMk/>
            <pc:sldMk cId="1519144107" sldId="2136"/>
            <ac:spMk id="6" creationId="{8DF57EA6-BCAD-4896-9D92-5AD423CEB96B}"/>
          </ac:spMkLst>
        </pc:spChg>
        <pc:spChg chg="add mod">
          <ac:chgData name="Elsaker, Sheri" userId="03aeeb51-71af-4ec0-ba02-b4548e55d73c" providerId="ADAL" clId="{1514E898-93AE-43E9-A31B-1164B4C54D66}" dt="2022-10-27T12:20:17.544" v="4956" actId="1038"/>
          <ac:spMkLst>
            <pc:docMk/>
            <pc:sldMk cId="1519144107" sldId="2136"/>
            <ac:spMk id="7" creationId="{6F33D924-3B45-4E3A-BE6D-E16EA6A5B31F}"/>
          </ac:spMkLst>
        </pc:spChg>
        <pc:spChg chg="mod">
          <ac:chgData name="Elsaker, Sheri" userId="03aeeb51-71af-4ec0-ba02-b4548e55d73c" providerId="ADAL" clId="{1514E898-93AE-43E9-A31B-1164B4C54D66}" dt="2022-10-27T12:15:15.598" v="4659" actId="1036"/>
          <ac:spMkLst>
            <pc:docMk/>
            <pc:sldMk cId="1519144107" sldId="2136"/>
            <ac:spMk id="9" creationId="{79F06601-98A2-4B20-A084-845D48D0B54F}"/>
          </ac:spMkLst>
        </pc:spChg>
        <pc:spChg chg="mod">
          <ac:chgData name="Elsaker, Sheri" userId="03aeeb51-71af-4ec0-ba02-b4548e55d73c" providerId="ADAL" clId="{1514E898-93AE-43E9-A31B-1164B4C54D66}" dt="2022-10-27T12:15:15.598" v="4659" actId="1036"/>
          <ac:spMkLst>
            <pc:docMk/>
            <pc:sldMk cId="1519144107" sldId="2136"/>
            <ac:spMk id="10" creationId="{BB9DA478-F168-46F7-83B4-302D61348D6E}"/>
          </ac:spMkLst>
        </pc:spChg>
        <pc:spChg chg="mod">
          <ac:chgData name="Elsaker, Sheri" userId="03aeeb51-71af-4ec0-ba02-b4548e55d73c" providerId="ADAL" clId="{1514E898-93AE-43E9-A31B-1164B4C54D66}" dt="2022-10-27T12:15:15.598" v="4659" actId="1036"/>
          <ac:spMkLst>
            <pc:docMk/>
            <pc:sldMk cId="1519144107" sldId="2136"/>
            <ac:spMk id="11" creationId="{34B634CE-92FE-4FA6-A8E9-267E0B22A212}"/>
          </ac:spMkLst>
        </pc:spChg>
        <pc:spChg chg="mod">
          <ac:chgData name="Elsaker, Sheri" userId="03aeeb51-71af-4ec0-ba02-b4548e55d73c" providerId="ADAL" clId="{1514E898-93AE-43E9-A31B-1164B4C54D66}" dt="2022-10-25T18:39:05.219" v="2824" actId="1038"/>
          <ac:spMkLst>
            <pc:docMk/>
            <pc:sldMk cId="1519144107" sldId="2136"/>
            <ac:spMk id="13" creationId="{C8163F3B-83E4-4362-9E83-DA40E9BB43C0}"/>
          </ac:spMkLst>
        </pc:spChg>
        <pc:spChg chg="mod">
          <ac:chgData name="Elsaker, Sheri" userId="03aeeb51-71af-4ec0-ba02-b4548e55d73c" providerId="ADAL" clId="{1514E898-93AE-43E9-A31B-1164B4C54D66}" dt="2022-10-25T18:39:05.219" v="2824" actId="1038"/>
          <ac:spMkLst>
            <pc:docMk/>
            <pc:sldMk cId="1519144107" sldId="2136"/>
            <ac:spMk id="14" creationId="{DB48AF4E-3FFF-4F08-A709-F871FCDD27DD}"/>
          </ac:spMkLst>
        </pc:spChg>
        <pc:spChg chg="add del mod">
          <ac:chgData name="Elsaker, Sheri" userId="03aeeb51-71af-4ec0-ba02-b4548e55d73c" providerId="ADAL" clId="{1514E898-93AE-43E9-A31B-1164B4C54D66}" dt="2022-10-27T12:15:15.598" v="4659" actId="1036"/>
          <ac:spMkLst>
            <pc:docMk/>
            <pc:sldMk cId="1519144107" sldId="2136"/>
            <ac:spMk id="16" creationId="{003D0CDB-0576-46B5-B1DA-32EA82B4E6DE}"/>
          </ac:spMkLst>
        </pc:spChg>
        <pc:spChg chg="add del mod">
          <ac:chgData name="Elsaker, Sheri" userId="03aeeb51-71af-4ec0-ba02-b4548e55d73c" providerId="ADAL" clId="{1514E898-93AE-43E9-A31B-1164B4C54D66}" dt="2022-10-25T18:36:12.870" v="2740" actId="478"/>
          <ac:spMkLst>
            <pc:docMk/>
            <pc:sldMk cId="1519144107" sldId="2136"/>
            <ac:spMk id="17" creationId="{855FB324-FC4A-4B33-8E33-93F4043D8585}"/>
          </ac:spMkLst>
        </pc:spChg>
        <pc:spChg chg="add del mod">
          <ac:chgData name="Elsaker, Sheri" userId="03aeeb51-71af-4ec0-ba02-b4548e55d73c" providerId="ADAL" clId="{1514E898-93AE-43E9-A31B-1164B4C54D66}" dt="2022-10-25T18:37:25.289" v="2756" actId="478"/>
          <ac:spMkLst>
            <pc:docMk/>
            <pc:sldMk cId="1519144107" sldId="2136"/>
            <ac:spMk id="18" creationId="{1F4D098A-B160-402F-BC6D-59843B34E715}"/>
          </ac:spMkLst>
        </pc:spChg>
        <pc:spChg chg="add del mod">
          <ac:chgData name="Elsaker, Sheri" userId="03aeeb51-71af-4ec0-ba02-b4548e55d73c" providerId="ADAL" clId="{1514E898-93AE-43E9-A31B-1164B4C54D66}" dt="2022-10-25T18:39:01.321" v="2801" actId="478"/>
          <ac:spMkLst>
            <pc:docMk/>
            <pc:sldMk cId="1519144107" sldId="2136"/>
            <ac:spMk id="19" creationId="{D05B2609-19BA-41E0-8D01-670EAC2D2A9D}"/>
          </ac:spMkLst>
        </pc:spChg>
        <pc:spChg chg="add mod">
          <ac:chgData name="Elsaker, Sheri" userId="03aeeb51-71af-4ec0-ba02-b4548e55d73c" providerId="ADAL" clId="{1514E898-93AE-43E9-A31B-1164B4C54D66}" dt="2022-10-27T12:15:15.598" v="4659" actId="1036"/>
          <ac:spMkLst>
            <pc:docMk/>
            <pc:sldMk cId="1519144107" sldId="2136"/>
            <ac:spMk id="28" creationId="{181E03B5-5CB5-4228-AC24-DD4B43912B0C}"/>
          </ac:spMkLst>
        </pc:spChg>
        <pc:spChg chg="add mod ord">
          <ac:chgData name="Elsaker, Sheri" userId="03aeeb51-71af-4ec0-ba02-b4548e55d73c" providerId="ADAL" clId="{1514E898-93AE-43E9-A31B-1164B4C54D66}" dt="2022-10-27T12:15:15.598" v="4659" actId="1036"/>
          <ac:spMkLst>
            <pc:docMk/>
            <pc:sldMk cId="1519144107" sldId="2136"/>
            <ac:spMk id="29" creationId="{140C6B87-D260-464D-8FF1-C682A06D31FD}"/>
          </ac:spMkLst>
        </pc:spChg>
        <pc:spChg chg="add mod ord">
          <ac:chgData name="Elsaker, Sheri" userId="03aeeb51-71af-4ec0-ba02-b4548e55d73c" providerId="ADAL" clId="{1514E898-93AE-43E9-A31B-1164B4C54D66}" dt="2022-10-27T12:15:15.598" v="4659" actId="1036"/>
          <ac:spMkLst>
            <pc:docMk/>
            <pc:sldMk cId="1519144107" sldId="2136"/>
            <ac:spMk id="30" creationId="{A72BEF68-4400-4A4E-AAD3-22CEF76E7BA8}"/>
          </ac:spMkLst>
        </pc:spChg>
        <pc:spChg chg="add del mod ord">
          <ac:chgData name="Elsaker, Sheri" userId="03aeeb51-71af-4ec0-ba02-b4548e55d73c" providerId="ADAL" clId="{1514E898-93AE-43E9-A31B-1164B4C54D66}" dt="2022-10-27T12:15:15.598" v="4659" actId="1036"/>
          <ac:spMkLst>
            <pc:docMk/>
            <pc:sldMk cId="1519144107" sldId="2136"/>
            <ac:spMk id="33" creationId="{97C3887C-54C4-4B8F-94B5-2EFCD5E295C9}"/>
          </ac:spMkLst>
        </pc:spChg>
        <pc:spChg chg="add del mod">
          <ac:chgData name="Elsaker, Sheri" userId="03aeeb51-71af-4ec0-ba02-b4548e55d73c" providerId="ADAL" clId="{1514E898-93AE-43E9-A31B-1164B4C54D66}" dt="2022-10-25T18:40:23.965" v="2901"/>
          <ac:spMkLst>
            <pc:docMk/>
            <pc:sldMk cId="1519144107" sldId="2136"/>
            <ac:spMk id="34" creationId="{EAF7363E-A842-490A-8FCC-43BED95E62EE}"/>
          </ac:spMkLst>
        </pc:spChg>
        <pc:spChg chg="add del mod">
          <ac:chgData name="Elsaker, Sheri" userId="03aeeb51-71af-4ec0-ba02-b4548e55d73c" providerId="ADAL" clId="{1514E898-93AE-43E9-A31B-1164B4C54D66}" dt="2022-10-25T18:40:23.965" v="2901"/>
          <ac:spMkLst>
            <pc:docMk/>
            <pc:sldMk cId="1519144107" sldId="2136"/>
            <ac:spMk id="35" creationId="{30EEA0F1-8918-4EF8-80A4-B6927EB3BFC6}"/>
          </ac:spMkLst>
        </pc:spChg>
        <pc:spChg chg="add mod">
          <ac:chgData name="Elsaker, Sheri" userId="03aeeb51-71af-4ec0-ba02-b4548e55d73c" providerId="ADAL" clId="{1514E898-93AE-43E9-A31B-1164B4C54D66}" dt="2022-10-27T12:20:38.744" v="4976" actId="20577"/>
          <ac:spMkLst>
            <pc:docMk/>
            <pc:sldMk cId="1519144107" sldId="2136"/>
            <ac:spMk id="36" creationId="{FA20B7E5-5E98-4578-99BB-3022777C2611}"/>
          </ac:spMkLst>
        </pc:spChg>
        <pc:spChg chg="add mod">
          <ac:chgData name="Elsaker, Sheri" userId="03aeeb51-71af-4ec0-ba02-b4548e55d73c" providerId="ADAL" clId="{1514E898-93AE-43E9-A31B-1164B4C54D66}" dt="2022-10-25T18:40:27.508" v="2902"/>
          <ac:spMkLst>
            <pc:docMk/>
            <pc:sldMk cId="1519144107" sldId="2136"/>
            <ac:spMk id="37" creationId="{B268B159-A2B9-46A7-BC7F-0CEA4959BB26}"/>
          </ac:spMkLst>
        </pc:spChg>
        <pc:grpChg chg="add mod">
          <ac:chgData name="Elsaker, Sheri" userId="03aeeb51-71af-4ec0-ba02-b4548e55d73c" providerId="ADAL" clId="{1514E898-93AE-43E9-A31B-1164B4C54D66}" dt="2022-10-27T12:15:15.598" v="4659" actId="1036"/>
          <ac:grpSpMkLst>
            <pc:docMk/>
            <pc:sldMk cId="1519144107" sldId="2136"/>
            <ac:grpSpMk id="8" creationId="{0E510D39-EA3B-42C6-9DC2-0B850BE58194}"/>
          </ac:grpSpMkLst>
        </pc:grpChg>
        <pc:grpChg chg="add del mod">
          <ac:chgData name="Elsaker, Sheri" userId="03aeeb51-71af-4ec0-ba02-b4548e55d73c" providerId="ADAL" clId="{1514E898-93AE-43E9-A31B-1164B4C54D66}" dt="2022-10-25T18:39:06.310" v="2825" actId="478"/>
          <ac:grpSpMkLst>
            <pc:docMk/>
            <pc:sldMk cId="1519144107" sldId="2136"/>
            <ac:grpSpMk id="12" creationId="{AF0ECEA1-719B-42E7-8BF4-44CF305FFC12}"/>
          </ac:grpSpMkLst>
        </pc:grpChg>
        <pc:picChg chg="add del mod">
          <ac:chgData name="Elsaker, Sheri" userId="03aeeb51-71af-4ec0-ba02-b4548e55d73c" providerId="ADAL" clId="{1514E898-93AE-43E9-A31B-1164B4C54D66}" dt="2022-10-25T18:40:13.442" v="2899" actId="478"/>
          <ac:picMkLst>
            <pc:docMk/>
            <pc:sldMk cId="1519144107" sldId="2136"/>
            <ac:picMk id="21" creationId="{CBE9E344-A851-431A-A27C-12F9C31CA258}"/>
          </ac:picMkLst>
        </pc:picChg>
        <pc:picChg chg="add mod ord">
          <ac:chgData name="Elsaker, Sheri" userId="03aeeb51-71af-4ec0-ba02-b4548e55d73c" providerId="ADAL" clId="{1514E898-93AE-43E9-A31B-1164B4C54D66}" dt="2022-10-27T12:15:15.598" v="4659" actId="1036"/>
          <ac:picMkLst>
            <pc:docMk/>
            <pc:sldMk cId="1519144107" sldId="2136"/>
            <ac:picMk id="23" creationId="{02488EAB-7718-4B63-9C3C-95F1136D2936}"/>
          </ac:picMkLst>
        </pc:picChg>
        <pc:picChg chg="add mod">
          <ac:chgData name="Elsaker, Sheri" userId="03aeeb51-71af-4ec0-ba02-b4548e55d73c" providerId="ADAL" clId="{1514E898-93AE-43E9-A31B-1164B4C54D66}" dt="2022-10-27T12:15:15.598" v="4659" actId="1036"/>
          <ac:picMkLst>
            <pc:docMk/>
            <pc:sldMk cId="1519144107" sldId="2136"/>
            <ac:picMk id="25" creationId="{7DAC4790-19EB-4894-9186-C8ADD46B4899}"/>
          </ac:picMkLst>
        </pc:picChg>
        <pc:picChg chg="add del mod">
          <ac:chgData name="Elsaker, Sheri" userId="03aeeb51-71af-4ec0-ba02-b4548e55d73c" providerId="ADAL" clId="{1514E898-93AE-43E9-A31B-1164B4C54D66}" dt="2022-10-25T18:40:11.126" v="2898" actId="478"/>
          <ac:picMkLst>
            <pc:docMk/>
            <pc:sldMk cId="1519144107" sldId="2136"/>
            <ac:picMk id="27" creationId="{11A44016-D911-47CA-9A5A-815984EA7ECD}"/>
          </ac:picMkLst>
        </pc:picChg>
        <pc:picChg chg="add mod">
          <ac:chgData name="Elsaker, Sheri" userId="03aeeb51-71af-4ec0-ba02-b4548e55d73c" providerId="ADAL" clId="{1514E898-93AE-43E9-A31B-1164B4C54D66}" dt="2022-10-27T12:15:15.598" v="4659" actId="1036"/>
          <ac:picMkLst>
            <pc:docMk/>
            <pc:sldMk cId="1519144107" sldId="2136"/>
            <ac:picMk id="32" creationId="{BE5E4520-7F9D-4A02-8CDF-B7465BE77662}"/>
          </ac:picMkLst>
        </pc:picChg>
        <pc:picChg chg="add mod">
          <ac:chgData name="Elsaker, Sheri" userId="03aeeb51-71af-4ec0-ba02-b4548e55d73c" providerId="ADAL" clId="{1514E898-93AE-43E9-A31B-1164B4C54D66}" dt="2022-10-27T12:15:15.598" v="4659" actId="1036"/>
          <ac:picMkLst>
            <pc:docMk/>
            <pc:sldMk cId="1519144107" sldId="2136"/>
            <ac:picMk id="39" creationId="{829D0ABC-F006-41E8-BE24-8E8D7C9DA512}"/>
          </ac:picMkLst>
        </pc:picChg>
        <pc:cxnChg chg="add mod ord">
          <ac:chgData name="Elsaker, Sheri" userId="03aeeb51-71af-4ec0-ba02-b4548e55d73c" providerId="ADAL" clId="{1514E898-93AE-43E9-A31B-1164B4C54D66}" dt="2022-10-27T12:20:26.393" v="4957" actId="167"/>
          <ac:cxnSpMkLst>
            <pc:docMk/>
            <pc:sldMk cId="1519144107" sldId="2136"/>
            <ac:cxnSpMk id="2" creationId="{AB2A2A82-41F9-412F-9D0F-692B6F39C9EF}"/>
          </ac:cxnSpMkLst>
        </pc:cxnChg>
        <pc:cxnChg chg="add mod">
          <ac:chgData name="Elsaker, Sheri" userId="03aeeb51-71af-4ec0-ba02-b4548e55d73c" providerId="ADAL" clId="{1514E898-93AE-43E9-A31B-1164B4C54D66}" dt="2022-10-27T12:15:15.598" v="4659" actId="1036"/>
          <ac:cxnSpMkLst>
            <pc:docMk/>
            <pc:sldMk cId="1519144107" sldId="2136"/>
            <ac:cxnSpMk id="3" creationId="{F6887D3B-A5C8-491C-9DA0-98BFC17C89F2}"/>
          </ac:cxnSpMkLst>
        </pc:cxnChg>
        <pc:cxnChg chg="add mod">
          <ac:chgData name="Elsaker, Sheri" userId="03aeeb51-71af-4ec0-ba02-b4548e55d73c" providerId="ADAL" clId="{1514E898-93AE-43E9-A31B-1164B4C54D66}" dt="2022-10-27T12:15:15.598" v="4659" actId="1036"/>
          <ac:cxnSpMkLst>
            <pc:docMk/>
            <pc:sldMk cId="1519144107" sldId="2136"/>
            <ac:cxnSpMk id="15" creationId="{AA56DE6E-EB68-4DE4-B6C4-3AC258EBCE60}"/>
          </ac:cxnSpMkLst>
        </pc:cxnChg>
      </pc:sldChg>
      <pc:sldChg chg="del">
        <pc:chgData name="Elsaker, Sheri" userId="03aeeb51-71af-4ec0-ba02-b4548e55d73c" providerId="ADAL" clId="{1514E898-93AE-43E9-A31B-1164B4C54D66}" dt="2022-10-25T18:26:05.859" v="2597" actId="47"/>
        <pc:sldMkLst>
          <pc:docMk/>
          <pc:sldMk cId="2551299187" sldId="2136"/>
        </pc:sldMkLst>
      </pc:sldChg>
      <pc:sldChg chg="addSp modSp del mod">
        <pc:chgData name="Elsaker, Sheri" userId="03aeeb51-71af-4ec0-ba02-b4548e55d73c" providerId="ADAL" clId="{1514E898-93AE-43E9-A31B-1164B4C54D66}" dt="2022-10-25T18:26:03.918" v="2596" actId="47"/>
        <pc:sldMkLst>
          <pc:docMk/>
          <pc:sldMk cId="1260473153" sldId="2137"/>
        </pc:sldMkLst>
        <pc:spChg chg="mod">
          <ac:chgData name="Elsaker, Sheri" userId="03aeeb51-71af-4ec0-ba02-b4548e55d73c" providerId="ADAL" clId="{1514E898-93AE-43E9-A31B-1164B4C54D66}" dt="2022-10-25T17:58:32.654" v="1171" actId="1036"/>
          <ac:spMkLst>
            <pc:docMk/>
            <pc:sldMk cId="1260473153" sldId="2137"/>
            <ac:spMk id="29" creationId="{00000000-0000-0000-0000-000000000000}"/>
          </ac:spMkLst>
        </pc:spChg>
        <pc:spChg chg="mod">
          <ac:chgData name="Elsaker, Sheri" userId="03aeeb51-71af-4ec0-ba02-b4548e55d73c" providerId="ADAL" clId="{1514E898-93AE-43E9-A31B-1164B4C54D66}" dt="2022-10-25T17:58:32.654" v="1171" actId="1036"/>
          <ac:spMkLst>
            <pc:docMk/>
            <pc:sldMk cId="1260473153" sldId="2137"/>
            <ac:spMk id="30" creationId="{00000000-0000-0000-0000-000000000000}"/>
          </ac:spMkLst>
        </pc:spChg>
        <pc:spChg chg="add mod">
          <ac:chgData name="Elsaker, Sheri" userId="03aeeb51-71af-4ec0-ba02-b4548e55d73c" providerId="ADAL" clId="{1514E898-93AE-43E9-A31B-1164B4C54D66}" dt="2022-10-25T17:58:03.703" v="1114" actId="207"/>
          <ac:spMkLst>
            <pc:docMk/>
            <pc:sldMk cId="1260473153" sldId="2137"/>
            <ac:spMk id="31" creationId="{CD1CAC02-D59A-46D1-B88D-5B04F61AA512}"/>
          </ac:spMkLst>
        </pc:spChg>
        <pc:spChg chg="mod">
          <ac:chgData name="Elsaker, Sheri" userId="03aeeb51-71af-4ec0-ba02-b4548e55d73c" providerId="ADAL" clId="{1514E898-93AE-43E9-A31B-1164B4C54D66}" dt="2022-10-25T18:00:35.948" v="1344" actId="14100"/>
          <ac:spMkLst>
            <pc:docMk/>
            <pc:sldMk cId="1260473153" sldId="2137"/>
            <ac:spMk id="41" creationId="{00000000-0000-0000-0000-000000000000}"/>
          </ac:spMkLst>
        </pc:spChg>
        <pc:spChg chg="mod">
          <ac:chgData name="Elsaker, Sheri" userId="03aeeb51-71af-4ec0-ba02-b4548e55d73c" providerId="ADAL" clId="{1514E898-93AE-43E9-A31B-1164B4C54D66}" dt="2022-10-25T18:00:35.948" v="1344" actId="14100"/>
          <ac:spMkLst>
            <pc:docMk/>
            <pc:sldMk cId="1260473153" sldId="2137"/>
            <ac:spMk id="42" creationId="{00000000-0000-0000-0000-000000000000}"/>
          </ac:spMkLst>
        </pc:spChg>
        <pc:spChg chg="mod">
          <ac:chgData name="Elsaker, Sheri" userId="03aeeb51-71af-4ec0-ba02-b4548e55d73c" providerId="ADAL" clId="{1514E898-93AE-43E9-A31B-1164B4C54D66}" dt="2022-10-25T17:59:32.170" v="1280" actId="1035"/>
          <ac:spMkLst>
            <pc:docMk/>
            <pc:sldMk cId="1260473153" sldId="2137"/>
            <ac:spMk id="56" creationId="{00000000-0000-0000-0000-000000000000}"/>
          </ac:spMkLst>
        </pc:spChg>
        <pc:spChg chg="mod">
          <ac:chgData name="Elsaker, Sheri" userId="03aeeb51-71af-4ec0-ba02-b4548e55d73c" providerId="ADAL" clId="{1514E898-93AE-43E9-A31B-1164B4C54D66}" dt="2022-10-25T17:59:32.170" v="1280" actId="1035"/>
          <ac:spMkLst>
            <pc:docMk/>
            <pc:sldMk cId="1260473153" sldId="2137"/>
            <ac:spMk id="57" creationId="{00000000-0000-0000-0000-000000000000}"/>
          </ac:spMkLst>
        </pc:spChg>
        <pc:spChg chg="mod">
          <ac:chgData name="Elsaker, Sheri" userId="03aeeb51-71af-4ec0-ba02-b4548e55d73c" providerId="ADAL" clId="{1514E898-93AE-43E9-A31B-1164B4C54D66}" dt="2022-10-25T17:59:07.423" v="1240" actId="1035"/>
          <ac:spMkLst>
            <pc:docMk/>
            <pc:sldMk cId="1260473153" sldId="2137"/>
            <ac:spMk id="65" creationId="{00000000-0000-0000-0000-000000000000}"/>
          </ac:spMkLst>
        </pc:spChg>
        <pc:spChg chg="mod">
          <ac:chgData name="Elsaker, Sheri" userId="03aeeb51-71af-4ec0-ba02-b4548e55d73c" providerId="ADAL" clId="{1514E898-93AE-43E9-A31B-1164B4C54D66}" dt="2022-10-25T17:59:07.423" v="1240" actId="1035"/>
          <ac:spMkLst>
            <pc:docMk/>
            <pc:sldMk cId="1260473153" sldId="2137"/>
            <ac:spMk id="66" creationId="{00000000-0000-0000-0000-000000000000}"/>
          </ac:spMkLst>
        </pc:spChg>
        <pc:spChg chg="mod">
          <ac:chgData name="Elsaker, Sheri" userId="03aeeb51-71af-4ec0-ba02-b4548e55d73c" providerId="ADAL" clId="{1514E898-93AE-43E9-A31B-1164B4C54D66}" dt="2022-10-25T18:00:29.492" v="1342" actId="1035"/>
          <ac:spMkLst>
            <pc:docMk/>
            <pc:sldMk cId="1260473153" sldId="2137"/>
            <ac:spMk id="70" creationId="{00000000-0000-0000-0000-000000000000}"/>
          </ac:spMkLst>
        </pc:spChg>
        <pc:spChg chg="mod">
          <ac:chgData name="Elsaker, Sheri" userId="03aeeb51-71af-4ec0-ba02-b4548e55d73c" providerId="ADAL" clId="{1514E898-93AE-43E9-A31B-1164B4C54D66}" dt="2022-10-25T17:59:32.170" v="1280" actId="1035"/>
          <ac:spMkLst>
            <pc:docMk/>
            <pc:sldMk cId="1260473153" sldId="2137"/>
            <ac:spMk id="71" creationId="{00000000-0000-0000-0000-000000000000}"/>
          </ac:spMkLst>
        </pc:spChg>
        <pc:spChg chg="mod">
          <ac:chgData name="Elsaker, Sheri" userId="03aeeb51-71af-4ec0-ba02-b4548e55d73c" providerId="ADAL" clId="{1514E898-93AE-43E9-A31B-1164B4C54D66}" dt="2022-10-25T17:58:32.654" v="1171" actId="1036"/>
          <ac:spMkLst>
            <pc:docMk/>
            <pc:sldMk cId="1260473153" sldId="2137"/>
            <ac:spMk id="75" creationId="{00000000-0000-0000-0000-000000000000}"/>
          </ac:spMkLst>
        </pc:spChg>
        <pc:spChg chg="mod">
          <ac:chgData name="Elsaker, Sheri" userId="03aeeb51-71af-4ec0-ba02-b4548e55d73c" providerId="ADAL" clId="{1514E898-93AE-43E9-A31B-1164B4C54D66}" dt="2022-10-25T17:59:07.423" v="1240" actId="1035"/>
          <ac:spMkLst>
            <pc:docMk/>
            <pc:sldMk cId="1260473153" sldId="2137"/>
            <ac:spMk id="77" creationId="{00000000-0000-0000-0000-000000000000}"/>
          </ac:spMkLst>
        </pc:spChg>
        <pc:spChg chg="mod">
          <ac:chgData name="Elsaker, Sheri" userId="03aeeb51-71af-4ec0-ba02-b4548e55d73c" providerId="ADAL" clId="{1514E898-93AE-43E9-A31B-1164B4C54D66}" dt="2022-10-25T17:58:32.654" v="1171" actId="1036"/>
          <ac:spMkLst>
            <pc:docMk/>
            <pc:sldMk cId="1260473153" sldId="2137"/>
            <ac:spMk id="138" creationId="{00000000-0000-0000-0000-000000000000}"/>
          </ac:spMkLst>
        </pc:spChg>
        <pc:spChg chg="mod">
          <ac:chgData name="Elsaker, Sheri" userId="03aeeb51-71af-4ec0-ba02-b4548e55d73c" providerId="ADAL" clId="{1514E898-93AE-43E9-A31B-1164B4C54D66}" dt="2022-10-25T18:00:35.948" v="1344" actId="14100"/>
          <ac:spMkLst>
            <pc:docMk/>
            <pc:sldMk cId="1260473153" sldId="2137"/>
            <ac:spMk id="139" creationId="{00000000-0000-0000-0000-000000000000}"/>
          </ac:spMkLst>
        </pc:spChg>
        <pc:spChg chg="mod">
          <ac:chgData name="Elsaker, Sheri" userId="03aeeb51-71af-4ec0-ba02-b4548e55d73c" providerId="ADAL" clId="{1514E898-93AE-43E9-A31B-1164B4C54D66}" dt="2022-10-25T17:59:32.170" v="1280" actId="1035"/>
          <ac:spMkLst>
            <pc:docMk/>
            <pc:sldMk cId="1260473153" sldId="2137"/>
            <ac:spMk id="141" creationId="{00000000-0000-0000-0000-000000000000}"/>
          </ac:spMkLst>
        </pc:spChg>
        <pc:spChg chg="mod">
          <ac:chgData name="Elsaker, Sheri" userId="03aeeb51-71af-4ec0-ba02-b4548e55d73c" providerId="ADAL" clId="{1514E898-93AE-43E9-A31B-1164B4C54D66}" dt="2022-10-25T17:59:07.423" v="1240" actId="1035"/>
          <ac:spMkLst>
            <pc:docMk/>
            <pc:sldMk cId="1260473153" sldId="2137"/>
            <ac:spMk id="142" creationId="{00000000-0000-0000-0000-000000000000}"/>
          </ac:spMkLst>
        </pc:spChg>
        <pc:cxnChg chg="mod">
          <ac:chgData name="Elsaker, Sheri" userId="03aeeb51-71af-4ec0-ba02-b4548e55d73c" providerId="ADAL" clId="{1514E898-93AE-43E9-A31B-1164B4C54D66}" dt="2022-10-25T18:00:35.948" v="1344" actId="14100"/>
          <ac:cxnSpMkLst>
            <pc:docMk/>
            <pc:sldMk cId="1260473153" sldId="2137"/>
            <ac:cxnSpMk id="7" creationId="{00000000-0000-0000-0000-000000000000}"/>
          </ac:cxnSpMkLst>
        </pc:cxnChg>
        <pc:cxnChg chg="mod">
          <ac:chgData name="Elsaker, Sheri" userId="03aeeb51-71af-4ec0-ba02-b4548e55d73c" providerId="ADAL" clId="{1514E898-93AE-43E9-A31B-1164B4C54D66}" dt="2022-10-25T17:58:32.654" v="1171" actId="1036"/>
          <ac:cxnSpMkLst>
            <pc:docMk/>
            <pc:sldMk cId="1260473153" sldId="2137"/>
            <ac:cxnSpMk id="72" creationId="{00000000-0000-0000-0000-000000000000}"/>
          </ac:cxnSpMkLst>
        </pc:cxnChg>
        <pc:cxnChg chg="mod">
          <ac:chgData name="Elsaker, Sheri" userId="03aeeb51-71af-4ec0-ba02-b4548e55d73c" providerId="ADAL" clId="{1514E898-93AE-43E9-A31B-1164B4C54D66}" dt="2022-10-25T18:00:35.948" v="1344" actId="14100"/>
          <ac:cxnSpMkLst>
            <pc:docMk/>
            <pc:sldMk cId="1260473153" sldId="2137"/>
            <ac:cxnSpMk id="73" creationId="{00000000-0000-0000-0000-000000000000}"/>
          </ac:cxnSpMkLst>
        </pc:cxnChg>
        <pc:cxnChg chg="mod">
          <ac:chgData name="Elsaker, Sheri" userId="03aeeb51-71af-4ec0-ba02-b4548e55d73c" providerId="ADAL" clId="{1514E898-93AE-43E9-A31B-1164B4C54D66}" dt="2022-10-25T17:59:32.170" v="1280" actId="1035"/>
          <ac:cxnSpMkLst>
            <pc:docMk/>
            <pc:sldMk cId="1260473153" sldId="2137"/>
            <ac:cxnSpMk id="78" creationId="{00000000-0000-0000-0000-000000000000}"/>
          </ac:cxnSpMkLst>
        </pc:cxnChg>
        <pc:cxnChg chg="mod">
          <ac:chgData name="Elsaker, Sheri" userId="03aeeb51-71af-4ec0-ba02-b4548e55d73c" providerId="ADAL" clId="{1514E898-93AE-43E9-A31B-1164B4C54D66}" dt="2022-10-25T17:59:07.423" v="1240" actId="1035"/>
          <ac:cxnSpMkLst>
            <pc:docMk/>
            <pc:sldMk cId="1260473153" sldId="2137"/>
            <ac:cxnSpMk id="79" creationId="{00000000-0000-0000-0000-000000000000}"/>
          </ac:cxnSpMkLst>
        </pc:cxnChg>
      </pc:sldChg>
      <pc:sldChg chg="del">
        <pc:chgData name="Elsaker, Sheri" userId="03aeeb51-71af-4ec0-ba02-b4548e55d73c" providerId="ADAL" clId="{1514E898-93AE-43E9-A31B-1164B4C54D66}" dt="2022-10-25T18:31:47.766" v="2609" actId="47"/>
        <pc:sldMkLst>
          <pc:docMk/>
          <pc:sldMk cId="2009849738" sldId="2137"/>
        </pc:sldMkLst>
      </pc:sldChg>
      <pc:sldChg chg="addSp delSp modSp add mod modNotesTx">
        <pc:chgData name="Elsaker, Sheri" userId="03aeeb51-71af-4ec0-ba02-b4548e55d73c" providerId="ADAL" clId="{1514E898-93AE-43E9-A31B-1164B4C54D66}" dt="2022-10-28T17:55:43.581" v="8795" actId="20577"/>
        <pc:sldMkLst>
          <pc:docMk/>
          <pc:sldMk cId="244629787" sldId="2138"/>
        </pc:sldMkLst>
        <pc:spChg chg="add mod ord">
          <ac:chgData name="Elsaker, Sheri" userId="03aeeb51-71af-4ec0-ba02-b4548e55d73c" providerId="ADAL" clId="{1514E898-93AE-43E9-A31B-1164B4C54D66}" dt="2022-10-27T16:32:09.076" v="8062" actId="1076"/>
          <ac:spMkLst>
            <pc:docMk/>
            <pc:sldMk cId="244629787" sldId="2138"/>
            <ac:spMk id="9" creationId="{F06D3CA6-2FE0-4B26-A5D0-F6F8BF96EC0D}"/>
          </ac:spMkLst>
        </pc:spChg>
        <pc:spChg chg="add mod">
          <ac:chgData name="Elsaker, Sheri" userId="03aeeb51-71af-4ec0-ba02-b4548e55d73c" providerId="ADAL" clId="{1514E898-93AE-43E9-A31B-1164B4C54D66}" dt="2022-10-27T16:26:14.335" v="8058" actId="1076"/>
          <ac:spMkLst>
            <pc:docMk/>
            <pc:sldMk cId="244629787" sldId="2138"/>
            <ac:spMk id="10" creationId="{113345B7-A643-4D54-9B65-F8E6FEB42226}"/>
          </ac:spMkLst>
        </pc:spChg>
        <pc:spChg chg="add mod">
          <ac:chgData name="Elsaker, Sheri" userId="03aeeb51-71af-4ec0-ba02-b4548e55d73c" providerId="ADAL" clId="{1514E898-93AE-43E9-A31B-1164B4C54D66}" dt="2022-10-27T16:47:39.032" v="8502" actId="208"/>
          <ac:spMkLst>
            <pc:docMk/>
            <pc:sldMk cId="244629787" sldId="2138"/>
            <ac:spMk id="11" creationId="{6CBFD705-D6F1-4F94-9EC2-D8A2FA351686}"/>
          </ac:spMkLst>
        </pc:spChg>
        <pc:spChg chg="mod">
          <ac:chgData name="Elsaker, Sheri" userId="03aeeb51-71af-4ec0-ba02-b4548e55d73c" providerId="ADAL" clId="{1514E898-93AE-43E9-A31B-1164B4C54D66}" dt="2022-10-27T16:20:29.383" v="7942" actId="20577"/>
          <ac:spMkLst>
            <pc:docMk/>
            <pc:sldMk cId="244629787" sldId="2138"/>
            <ac:spMk id="37" creationId="{4E5B019D-6BC1-4570-9FB3-D8F79C703418}"/>
          </ac:spMkLst>
        </pc:spChg>
        <pc:spChg chg="mod">
          <ac:chgData name="Elsaker, Sheri" userId="03aeeb51-71af-4ec0-ba02-b4548e55d73c" providerId="ADAL" clId="{1514E898-93AE-43E9-A31B-1164B4C54D66}" dt="2022-10-25T19:08:35.271" v="3319" actId="20577"/>
          <ac:spMkLst>
            <pc:docMk/>
            <pc:sldMk cId="244629787" sldId="2138"/>
            <ac:spMk id="38" creationId="{EEAA6AD0-46E1-4E03-897D-991B591A3AD5}"/>
          </ac:spMkLst>
        </pc:spChg>
        <pc:spChg chg="del">
          <ac:chgData name="Elsaker, Sheri" userId="03aeeb51-71af-4ec0-ba02-b4548e55d73c" providerId="ADAL" clId="{1514E898-93AE-43E9-A31B-1164B4C54D66}" dt="2022-10-25T19:08:31.182" v="3316" actId="478"/>
          <ac:spMkLst>
            <pc:docMk/>
            <pc:sldMk cId="244629787" sldId="2138"/>
            <ac:spMk id="56" creationId="{E4673061-0DCC-FF44-BC15-36499893F6A3}"/>
          </ac:spMkLst>
        </pc:spChg>
        <pc:spChg chg="del">
          <ac:chgData name="Elsaker, Sheri" userId="03aeeb51-71af-4ec0-ba02-b4548e55d73c" providerId="ADAL" clId="{1514E898-93AE-43E9-A31B-1164B4C54D66}" dt="2022-10-25T19:08:31.182" v="3316" actId="478"/>
          <ac:spMkLst>
            <pc:docMk/>
            <pc:sldMk cId="244629787" sldId="2138"/>
            <ac:spMk id="57" creationId="{47666E0F-CA29-684F-983B-621C31E3536E}"/>
          </ac:spMkLst>
        </pc:spChg>
        <pc:spChg chg="del">
          <ac:chgData name="Elsaker, Sheri" userId="03aeeb51-71af-4ec0-ba02-b4548e55d73c" providerId="ADAL" clId="{1514E898-93AE-43E9-A31B-1164B4C54D66}" dt="2022-10-25T19:08:31.182" v="3316" actId="478"/>
          <ac:spMkLst>
            <pc:docMk/>
            <pc:sldMk cId="244629787" sldId="2138"/>
            <ac:spMk id="58" creationId="{4CB3C754-9E33-3842-974C-E961090B698A}"/>
          </ac:spMkLst>
        </pc:spChg>
        <pc:spChg chg="del">
          <ac:chgData name="Elsaker, Sheri" userId="03aeeb51-71af-4ec0-ba02-b4548e55d73c" providerId="ADAL" clId="{1514E898-93AE-43E9-A31B-1164B4C54D66}" dt="2022-10-25T19:08:31.182" v="3316" actId="478"/>
          <ac:spMkLst>
            <pc:docMk/>
            <pc:sldMk cId="244629787" sldId="2138"/>
            <ac:spMk id="59" creationId="{45623FCC-20B3-8A49-81D9-8CFFBCC3285E}"/>
          </ac:spMkLst>
        </pc:spChg>
        <pc:spChg chg="del">
          <ac:chgData name="Elsaker, Sheri" userId="03aeeb51-71af-4ec0-ba02-b4548e55d73c" providerId="ADAL" clId="{1514E898-93AE-43E9-A31B-1164B4C54D66}" dt="2022-10-25T19:08:31.182" v="3316" actId="478"/>
          <ac:spMkLst>
            <pc:docMk/>
            <pc:sldMk cId="244629787" sldId="2138"/>
            <ac:spMk id="60" creationId="{A1C407FC-F4C0-B945-B923-2B7D11AF6D5A}"/>
          </ac:spMkLst>
        </pc:spChg>
        <pc:spChg chg="del">
          <ac:chgData name="Elsaker, Sheri" userId="03aeeb51-71af-4ec0-ba02-b4548e55d73c" providerId="ADAL" clId="{1514E898-93AE-43E9-A31B-1164B4C54D66}" dt="2022-10-25T19:08:31.182" v="3316" actId="478"/>
          <ac:spMkLst>
            <pc:docMk/>
            <pc:sldMk cId="244629787" sldId="2138"/>
            <ac:spMk id="62" creationId="{C0B56480-D87C-8145-A3FA-F4A59E0F7A79}"/>
          </ac:spMkLst>
        </pc:spChg>
        <pc:spChg chg="del">
          <ac:chgData name="Elsaker, Sheri" userId="03aeeb51-71af-4ec0-ba02-b4548e55d73c" providerId="ADAL" clId="{1514E898-93AE-43E9-A31B-1164B4C54D66}" dt="2022-10-25T19:08:31.182" v="3316" actId="478"/>
          <ac:spMkLst>
            <pc:docMk/>
            <pc:sldMk cId="244629787" sldId="2138"/>
            <ac:spMk id="63" creationId="{50BE4C6A-4A6E-9644-8765-2C5D9F52F1F7}"/>
          </ac:spMkLst>
        </pc:spChg>
        <pc:spChg chg="del">
          <ac:chgData name="Elsaker, Sheri" userId="03aeeb51-71af-4ec0-ba02-b4548e55d73c" providerId="ADAL" clId="{1514E898-93AE-43E9-A31B-1164B4C54D66}" dt="2022-10-25T19:08:31.182" v="3316" actId="478"/>
          <ac:spMkLst>
            <pc:docMk/>
            <pc:sldMk cId="244629787" sldId="2138"/>
            <ac:spMk id="64" creationId="{73B83227-D744-CF41-8638-2A464A63D870}"/>
          </ac:spMkLst>
        </pc:spChg>
        <pc:spChg chg="del">
          <ac:chgData name="Elsaker, Sheri" userId="03aeeb51-71af-4ec0-ba02-b4548e55d73c" providerId="ADAL" clId="{1514E898-93AE-43E9-A31B-1164B4C54D66}" dt="2022-10-25T19:08:31.182" v="3316" actId="478"/>
          <ac:spMkLst>
            <pc:docMk/>
            <pc:sldMk cId="244629787" sldId="2138"/>
            <ac:spMk id="66" creationId="{A9ABCEEE-3266-C441-9FEB-35E4FAA9575F}"/>
          </ac:spMkLst>
        </pc:spChg>
        <pc:spChg chg="del">
          <ac:chgData name="Elsaker, Sheri" userId="03aeeb51-71af-4ec0-ba02-b4548e55d73c" providerId="ADAL" clId="{1514E898-93AE-43E9-A31B-1164B4C54D66}" dt="2022-10-25T19:08:31.182" v="3316" actId="478"/>
          <ac:spMkLst>
            <pc:docMk/>
            <pc:sldMk cId="244629787" sldId="2138"/>
            <ac:spMk id="67" creationId="{1C4F0F43-3620-1B44-9B3D-BBBC42BAF3C9}"/>
          </ac:spMkLst>
        </pc:spChg>
        <pc:spChg chg="del">
          <ac:chgData name="Elsaker, Sheri" userId="03aeeb51-71af-4ec0-ba02-b4548e55d73c" providerId="ADAL" clId="{1514E898-93AE-43E9-A31B-1164B4C54D66}" dt="2022-10-25T19:08:31.182" v="3316" actId="478"/>
          <ac:spMkLst>
            <pc:docMk/>
            <pc:sldMk cId="244629787" sldId="2138"/>
            <ac:spMk id="69" creationId="{17F6E4FF-ED83-734F-960B-58D5D280E47C}"/>
          </ac:spMkLst>
        </pc:spChg>
        <pc:spChg chg="del">
          <ac:chgData name="Elsaker, Sheri" userId="03aeeb51-71af-4ec0-ba02-b4548e55d73c" providerId="ADAL" clId="{1514E898-93AE-43E9-A31B-1164B4C54D66}" dt="2022-10-25T19:08:31.182" v="3316" actId="478"/>
          <ac:spMkLst>
            <pc:docMk/>
            <pc:sldMk cId="244629787" sldId="2138"/>
            <ac:spMk id="70" creationId="{9CBB027C-82D5-804B-863B-B3A06C16DA62}"/>
          </ac:spMkLst>
        </pc:spChg>
        <pc:spChg chg="del">
          <ac:chgData name="Elsaker, Sheri" userId="03aeeb51-71af-4ec0-ba02-b4548e55d73c" providerId="ADAL" clId="{1514E898-93AE-43E9-A31B-1164B4C54D66}" dt="2022-10-25T19:08:31.182" v="3316" actId="478"/>
          <ac:spMkLst>
            <pc:docMk/>
            <pc:sldMk cId="244629787" sldId="2138"/>
            <ac:spMk id="71" creationId="{E50C8F51-87C2-3B4B-9972-0A74BE3231FF}"/>
          </ac:spMkLst>
        </pc:spChg>
        <pc:spChg chg="del">
          <ac:chgData name="Elsaker, Sheri" userId="03aeeb51-71af-4ec0-ba02-b4548e55d73c" providerId="ADAL" clId="{1514E898-93AE-43E9-A31B-1164B4C54D66}" dt="2022-10-25T19:08:31.182" v="3316" actId="478"/>
          <ac:spMkLst>
            <pc:docMk/>
            <pc:sldMk cId="244629787" sldId="2138"/>
            <ac:spMk id="72" creationId="{FD03E786-8874-3D40-A781-5CED8D9EAF21}"/>
          </ac:spMkLst>
        </pc:spChg>
        <pc:spChg chg="del">
          <ac:chgData name="Elsaker, Sheri" userId="03aeeb51-71af-4ec0-ba02-b4548e55d73c" providerId="ADAL" clId="{1514E898-93AE-43E9-A31B-1164B4C54D66}" dt="2022-10-25T19:08:31.182" v="3316" actId="478"/>
          <ac:spMkLst>
            <pc:docMk/>
            <pc:sldMk cId="244629787" sldId="2138"/>
            <ac:spMk id="73" creationId="{F9D03C20-CB3D-354D-B4DA-7DBF3AA40098}"/>
          </ac:spMkLst>
        </pc:spChg>
        <pc:picChg chg="add del mod">
          <ac:chgData name="Elsaker, Sheri" userId="03aeeb51-71af-4ec0-ba02-b4548e55d73c" providerId="ADAL" clId="{1514E898-93AE-43E9-A31B-1164B4C54D66}" dt="2022-10-27T16:24:57.958" v="8039" actId="478"/>
          <ac:picMkLst>
            <pc:docMk/>
            <pc:sldMk cId="244629787" sldId="2138"/>
            <ac:picMk id="3" creationId="{2CB3A688-3288-4734-9DDD-88B9E6150ACE}"/>
          </ac:picMkLst>
        </pc:picChg>
        <pc:picChg chg="add mod">
          <ac:chgData name="Elsaker, Sheri" userId="03aeeb51-71af-4ec0-ba02-b4548e55d73c" providerId="ADAL" clId="{1514E898-93AE-43E9-A31B-1164B4C54D66}" dt="2022-10-27T16:32:00.493" v="8061" actId="1076"/>
          <ac:picMkLst>
            <pc:docMk/>
            <pc:sldMk cId="244629787" sldId="2138"/>
            <ac:picMk id="8" creationId="{89C38393-6EC7-4699-9892-D20B177003DB}"/>
          </ac:picMkLst>
        </pc:picChg>
        <pc:cxnChg chg="del">
          <ac:chgData name="Elsaker, Sheri" userId="03aeeb51-71af-4ec0-ba02-b4548e55d73c" providerId="ADAL" clId="{1514E898-93AE-43E9-A31B-1164B4C54D66}" dt="2022-10-25T19:08:31.182" v="3316" actId="478"/>
          <ac:cxnSpMkLst>
            <pc:docMk/>
            <pc:sldMk cId="244629787" sldId="2138"/>
            <ac:cxnSpMk id="5" creationId="{00000000-0000-0000-0000-000000000000}"/>
          </ac:cxnSpMkLst>
        </pc:cxnChg>
        <pc:cxnChg chg="add mod ord">
          <ac:chgData name="Elsaker, Sheri" userId="03aeeb51-71af-4ec0-ba02-b4548e55d73c" providerId="ADAL" clId="{1514E898-93AE-43E9-A31B-1164B4C54D66}" dt="2022-10-27T16:32:09.076" v="8062" actId="1076"/>
          <ac:cxnSpMkLst>
            <pc:docMk/>
            <pc:sldMk cId="244629787" sldId="2138"/>
            <ac:cxnSpMk id="5" creationId="{76C5A827-54F0-4729-9262-C073F734BDFF}"/>
          </ac:cxnSpMkLst>
        </pc:cxnChg>
        <pc:cxnChg chg="del">
          <ac:chgData name="Elsaker, Sheri" userId="03aeeb51-71af-4ec0-ba02-b4548e55d73c" providerId="ADAL" clId="{1514E898-93AE-43E9-A31B-1164B4C54D66}" dt="2022-10-25T19:08:31.182" v="3316" actId="478"/>
          <ac:cxnSpMkLst>
            <pc:docMk/>
            <pc:sldMk cId="244629787" sldId="2138"/>
            <ac:cxnSpMk id="74" creationId="{7FCFA17D-F7A4-7E4C-BEF0-59992BE78D25}"/>
          </ac:cxnSpMkLst>
        </pc:cxnChg>
        <pc:cxnChg chg="del">
          <ac:chgData name="Elsaker, Sheri" userId="03aeeb51-71af-4ec0-ba02-b4548e55d73c" providerId="ADAL" clId="{1514E898-93AE-43E9-A31B-1164B4C54D66}" dt="2022-10-25T19:08:31.182" v="3316" actId="478"/>
          <ac:cxnSpMkLst>
            <pc:docMk/>
            <pc:sldMk cId="244629787" sldId="2138"/>
            <ac:cxnSpMk id="75" creationId="{D11C47E3-DCF6-BB42-872A-F154F912F2B7}"/>
          </ac:cxnSpMkLst>
        </pc:cxnChg>
        <pc:cxnChg chg="del">
          <ac:chgData name="Elsaker, Sheri" userId="03aeeb51-71af-4ec0-ba02-b4548e55d73c" providerId="ADAL" clId="{1514E898-93AE-43E9-A31B-1164B4C54D66}" dt="2022-10-25T19:08:31.182" v="3316" actId="478"/>
          <ac:cxnSpMkLst>
            <pc:docMk/>
            <pc:sldMk cId="244629787" sldId="2138"/>
            <ac:cxnSpMk id="76" creationId="{07C14C6C-BAE5-EC4E-B979-C3B4BC7D4D4C}"/>
          </ac:cxnSpMkLst>
        </pc:cxnChg>
      </pc:sldChg>
      <pc:sldChg chg="addSp delSp modSp add mod modNotesTx">
        <pc:chgData name="Elsaker, Sheri" userId="03aeeb51-71af-4ec0-ba02-b4548e55d73c" providerId="ADAL" clId="{1514E898-93AE-43E9-A31B-1164B4C54D66}" dt="2022-10-27T16:11:37.851" v="7829" actId="20577"/>
        <pc:sldMkLst>
          <pc:docMk/>
          <pc:sldMk cId="610726245" sldId="2139"/>
        </pc:sldMkLst>
        <pc:spChg chg="mod">
          <ac:chgData name="Elsaker, Sheri" userId="03aeeb51-71af-4ec0-ba02-b4548e55d73c" providerId="ADAL" clId="{1514E898-93AE-43E9-A31B-1164B4C54D66}" dt="2022-10-27T16:11:37.851" v="7829" actId="20577"/>
          <ac:spMkLst>
            <pc:docMk/>
            <pc:sldMk cId="610726245" sldId="2139"/>
            <ac:spMk id="37" creationId="{4E5B019D-6BC1-4570-9FB3-D8F79C703418}"/>
          </ac:spMkLst>
        </pc:spChg>
        <pc:spChg chg="mod">
          <ac:chgData name="Elsaker, Sheri" userId="03aeeb51-71af-4ec0-ba02-b4548e55d73c" providerId="ADAL" clId="{1514E898-93AE-43E9-A31B-1164B4C54D66}" dt="2022-10-25T19:08:40.884" v="3322" actId="20577"/>
          <ac:spMkLst>
            <pc:docMk/>
            <pc:sldMk cId="610726245" sldId="2139"/>
            <ac:spMk id="38" creationId="{EEAA6AD0-46E1-4E03-897D-991B591A3AD5}"/>
          </ac:spMkLst>
        </pc:spChg>
        <pc:picChg chg="add del mod modCrop">
          <ac:chgData name="Elsaker, Sheri" userId="03aeeb51-71af-4ec0-ba02-b4548e55d73c" providerId="ADAL" clId="{1514E898-93AE-43E9-A31B-1164B4C54D66}" dt="2022-10-27T16:09:48.090" v="7753" actId="478"/>
          <ac:picMkLst>
            <pc:docMk/>
            <pc:sldMk cId="610726245" sldId="2139"/>
            <ac:picMk id="3" creationId="{249165B0-27D3-419F-919C-489CE19E339F}"/>
          </ac:picMkLst>
        </pc:picChg>
        <pc:picChg chg="add del mod modCrop">
          <ac:chgData name="Elsaker, Sheri" userId="03aeeb51-71af-4ec0-ba02-b4548e55d73c" providerId="ADAL" clId="{1514E898-93AE-43E9-A31B-1164B4C54D66}" dt="2022-10-27T16:09:59.916" v="7755" actId="478"/>
          <ac:picMkLst>
            <pc:docMk/>
            <pc:sldMk cId="610726245" sldId="2139"/>
            <ac:picMk id="5" creationId="{73436F85-2503-4981-8996-D268B336A2E1}"/>
          </ac:picMkLst>
        </pc:picChg>
        <pc:picChg chg="add mod">
          <ac:chgData name="Elsaker, Sheri" userId="03aeeb51-71af-4ec0-ba02-b4548e55d73c" providerId="ADAL" clId="{1514E898-93AE-43E9-A31B-1164B4C54D66}" dt="2022-10-27T16:11:22.204" v="7822" actId="14100"/>
          <ac:picMkLst>
            <pc:docMk/>
            <pc:sldMk cId="610726245" sldId="2139"/>
            <ac:picMk id="1026" creationId="{BFA2F62C-5CC5-4D7B-90C9-016DD0EA5C85}"/>
          </ac:picMkLst>
        </pc:picChg>
        <pc:picChg chg="add del mod">
          <ac:chgData name="Elsaker, Sheri" userId="03aeeb51-71af-4ec0-ba02-b4548e55d73c" providerId="ADAL" clId="{1514E898-93AE-43E9-A31B-1164B4C54D66}" dt="2022-10-27T16:10:35.943" v="7764" actId="478"/>
          <ac:picMkLst>
            <pc:docMk/>
            <pc:sldMk cId="610726245" sldId="2139"/>
            <ac:picMk id="1027" creationId="{C39806A0-C3EC-4D91-B7FF-8202A18A8A59}"/>
          </ac:picMkLst>
        </pc:picChg>
      </pc:sldChg>
      <pc:sldChg chg="modSp add mod ord modNotesTx">
        <pc:chgData name="Elsaker, Sheri" userId="03aeeb51-71af-4ec0-ba02-b4548e55d73c" providerId="ADAL" clId="{1514E898-93AE-43E9-A31B-1164B4C54D66}" dt="2022-10-27T15:26:44.822" v="7577" actId="20577"/>
        <pc:sldMkLst>
          <pc:docMk/>
          <pc:sldMk cId="4054848473" sldId="2140"/>
        </pc:sldMkLst>
        <pc:spChg chg="mod">
          <ac:chgData name="Elsaker, Sheri" userId="03aeeb51-71af-4ec0-ba02-b4548e55d73c" providerId="ADAL" clId="{1514E898-93AE-43E9-A31B-1164B4C54D66}" dt="2022-10-25T19:08:46.975" v="3325" actId="20577"/>
          <ac:spMkLst>
            <pc:docMk/>
            <pc:sldMk cId="4054848473" sldId="2140"/>
            <ac:spMk id="38" creationId="{EEAA6AD0-46E1-4E03-897D-991B591A3AD5}"/>
          </ac:spMkLst>
        </pc:spChg>
      </pc:sldChg>
      <pc:sldChg chg="modSp new mod">
        <pc:chgData name="Elsaker, Sheri" userId="03aeeb51-71af-4ec0-ba02-b4548e55d73c" providerId="ADAL" clId="{1514E898-93AE-43E9-A31B-1164B4C54D66}" dt="2022-10-25T19:09:12.750" v="3345" actId="20577"/>
        <pc:sldMkLst>
          <pc:docMk/>
          <pc:sldMk cId="933046347" sldId="2141"/>
        </pc:sldMkLst>
        <pc:spChg chg="mod">
          <ac:chgData name="Elsaker, Sheri" userId="03aeeb51-71af-4ec0-ba02-b4548e55d73c" providerId="ADAL" clId="{1514E898-93AE-43E9-A31B-1164B4C54D66}" dt="2022-10-25T19:09:08.447" v="3336" actId="20577"/>
          <ac:spMkLst>
            <pc:docMk/>
            <pc:sldMk cId="933046347" sldId="2141"/>
            <ac:spMk id="2" creationId="{CF7DFBDC-BDF6-4AD3-9E1C-1A30B929E617}"/>
          </ac:spMkLst>
        </pc:spChg>
        <pc:spChg chg="mod">
          <ac:chgData name="Elsaker, Sheri" userId="03aeeb51-71af-4ec0-ba02-b4548e55d73c" providerId="ADAL" clId="{1514E898-93AE-43E9-A31B-1164B4C54D66}" dt="2022-10-25T19:09:12.750" v="3345" actId="20577"/>
          <ac:spMkLst>
            <pc:docMk/>
            <pc:sldMk cId="933046347" sldId="2141"/>
            <ac:spMk id="3" creationId="{BCDBCC36-D891-4929-9DDD-18F93AF85F44}"/>
          </ac:spMkLst>
        </pc:spChg>
      </pc:sldChg>
      <pc:sldChg chg="addSp delSp modSp new mod ord">
        <pc:chgData name="Elsaker, Sheri" userId="03aeeb51-71af-4ec0-ba02-b4548e55d73c" providerId="ADAL" clId="{1514E898-93AE-43E9-A31B-1164B4C54D66}" dt="2022-10-27T12:48:10.486" v="6369" actId="20577"/>
        <pc:sldMkLst>
          <pc:docMk/>
          <pc:sldMk cId="1975784513" sldId="2142"/>
        </pc:sldMkLst>
        <pc:spChg chg="add del mod">
          <ac:chgData name="Elsaker, Sheri" userId="03aeeb51-71af-4ec0-ba02-b4548e55d73c" providerId="ADAL" clId="{1514E898-93AE-43E9-A31B-1164B4C54D66}" dt="2022-10-25T19:10:29.347" v="3351"/>
          <ac:spMkLst>
            <pc:docMk/>
            <pc:sldMk cId="1975784513" sldId="2142"/>
            <ac:spMk id="2" creationId="{45F28BBE-9FB8-4C7A-A044-5717712E3835}"/>
          </ac:spMkLst>
        </pc:spChg>
        <pc:spChg chg="add del mod">
          <ac:chgData name="Elsaker, Sheri" userId="03aeeb51-71af-4ec0-ba02-b4548e55d73c" providerId="ADAL" clId="{1514E898-93AE-43E9-A31B-1164B4C54D66}" dt="2022-10-25T19:10:29.347" v="3351"/>
          <ac:spMkLst>
            <pc:docMk/>
            <pc:sldMk cId="1975784513" sldId="2142"/>
            <ac:spMk id="3" creationId="{D4FB590B-E41E-4832-8319-22108DAE3784}"/>
          </ac:spMkLst>
        </pc:spChg>
        <pc:spChg chg="mod">
          <ac:chgData name="Elsaker, Sheri" userId="03aeeb51-71af-4ec0-ba02-b4548e55d73c" providerId="ADAL" clId="{1514E898-93AE-43E9-A31B-1164B4C54D66}" dt="2022-10-25T19:10:27.405" v="3350"/>
          <ac:spMkLst>
            <pc:docMk/>
            <pc:sldMk cId="1975784513" sldId="2142"/>
            <ac:spMk id="5" creationId="{8F7AED45-AFC6-45CB-95AD-BA7F55C5DC6D}"/>
          </ac:spMkLst>
        </pc:spChg>
        <pc:spChg chg="mod">
          <ac:chgData name="Elsaker, Sheri" userId="03aeeb51-71af-4ec0-ba02-b4548e55d73c" providerId="ADAL" clId="{1514E898-93AE-43E9-A31B-1164B4C54D66}" dt="2022-10-25T19:10:27.405" v="3350"/>
          <ac:spMkLst>
            <pc:docMk/>
            <pc:sldMk cId="1975784513" sldId="2142"/>
            <ac:spMk id="6" creationId="{A3C84D42-DA0B-46AF-AD44-F677C4805353}"/>
          </ac:spMkLst>
        </pc:spChg>
        <pc:spChg chg="mod">
          <ac:chgData name="Elsaker, Sheri" userId="03aeeb51-71af-4ec0-ba02-b4548e55d73c" providerId="ADAL" clId="{1514E898-93AE-43E9-A31B-1164B4C54D66}" dt="2022-10-25T19:10:27.405" v="3350"/>
          <ac:spMkLst>
            <pc:docMk/>
            <pc:sldMk cId="1975784513" sldId="2142"/>
            <ac:spMk id="7" creationId="{3AD324CC-7E73-42C9-8158-8B26E7164324}"/>
          </ac:spMkLst>
        </pc:spChg>
        <pc:spChg chg="mod">
          <ac:chgData name="Elsaker, Sheri" userId="03aeeb51-71af-4ec0-ba02-b4548e55d73c" providerId="ADAL" clId="{1514E898-93AE-43E9-A31B-1164B4C54D66}" dt="2022-10-25T19:10:27.405" v="3350"/>
          <ac:spMkLst>
            <pc:docMk/>
            <pc:sldMk cId="1975784513" sldId="2142"/>
            <ac:spMk id="8" creationId="{DCA8FBB6-6D97-4477-82EF-A4AC1C08E62A}"/>
          </ac:spMkLst>
        </pc:spChg>
        <pc:spChg chg="mod">
          <ac:chgData name="Elsaker, Sheri" userId="03aeeb51-71af-4ec0-ba02-b4548e55d73c" providerId="ADAL" clId="{1514E898-93AE-43E9-A31B-1164B4C54D66}" dt="2022-10-25T19:10:27.405" v="3350"/>
          <ac:spMkLst>
            <pc:docMk/>
            <pc:sldMk cId="1975784513" sldId="2142"/>
            <ac:spMk id="9" creationId="{9FBF8BB5-4D8C-4A12-8686-FBE5FE176A52}"/>
          </ac:spMkLst>
        </pc:spChg>
        <pc:spChg chg="mod">
          <ac:chgData name="Elsaker, Sheri" userId="03aeeb51-71af-4ec0-ba02-b4548e55d73c" providerId="ADAL" clId="{1514E898-93AE-43E9-A31B-1164B4C54D66}" dt="2022-10-25T19:10:27.405" v="3350"/>
          <ac:spMkLst>
            <pc:docMk/>
            <pc:sldMk cId="1975784513" sldId="2142"/>
            <ac:spMk id="10" creationId="{B8E4E0B1-CBAD-46B3-888C-BA70CFDE5219}"/>
          </ac:spMkLst>
        </pc:spChg>
        <pc:spChg chg="mod">
          <ac:chgData name="Elsaker, Sheri" userId="03aeeb51-71af-4ec0-ba02-b4548e55d73c" providerId="ADAL" clId="{1514E898-93AE-43E9-A31B-1164B4C54D66}" dt="2022-10-25T19:10:27.405" v="3350"/>
          <ac:spMkLst>
            <pc:docMk/>
            <pc:sldMk cId="1975784513" sldId="2142"/>
            <ac:spMk id="11" creationId="{18EAE2DD-B0C4-4E45-B0E0-568D06E372A5}"/>
          </ac:spMkLst>
        </pc:spChg>
        <pc:spChg chg="mod">
          <ac:chgData name="Elsaker, Sheri" userId="03aeeb51-71af-4ec0-ba02-b4548e55d73c" providerId="ADAL" clId="{1514E898-93AE-43E9-A31B-1164B4C54D66}" dt="2022-10-25T19:10:27.405" v="3350"/>
          <ac:spMkLst>
            <pc:docMk/>
            <pc:sldMk cId="1975784513" sldId="2142"/>
            <ac:spMk id="12" creationId="{5BD935AD-3852-4190-BAAF-8206E9224471}"/>
          </ac:spMkLst>
        </pc:spChg>
        <pc:spChg chg="mod">
          <ac:chgData name="Elsaker, Sheri" userId="03aeeb51-71af-4ec0-ba02-b4548e55d73c" providerId="ADAL" clId="{1514E898-93AE-43E9-A31B-1164B4C54D66}" dt="2022-10-25T19:10:27.405" v="3350"/>
          <ac:spMkLst>
            <pc:docMk/>
            <pc:sldMk cId="1975784513" sldId="2142"/>
            <ac:spMk id="13" creationId="{52B0004C-E770-428F-AEEF-872D0FBBC2AA}"/>
          </ac:spMkLst>
        </pc:spChg>
        <pc:spChg chg="mod">
          <ac:chgData name="Elsaker, Sheri" userId="03aeeb51-71af-4ec0-ba02-b4548e55d73c" providerId="ADAL" clId="{1514E898-93AE-43E9-A31B-1164B4C54D66}" dt="2022-10-25T19:10:27.405" v="3350"/>
          <ac:spMkLst>
            <pc:docMk/>
            <pc:sldMk cId="1975784513" sldId="2142"/>
            <ac:spMk id="14" creationId="{40DE8C1A-3A27-4760-8D14-E6ED9783C52B}"/>
          </ac:spMkLst>
        </pc:spChg>
        <pc:spChg chg="mod">
          <ac:chgData name="Elsaker, Sheri" userId="03aeeb51-71af-4ec0-ba02-b4548e55d73c" providerId="ADAL" clId="{1514E898-93AE-43E9-A31B-1164B4C54D66}" dt="2022-10-25T19:10:27.405" v="3350"/>
          <ac:spMkLst>
            <pc:docMk/>
            <pc:sldMk cId="1975784513" sldId="2142"/>
            <ac:spMk id="15" creationId="{D516BB88-15A3-4DF9-883D-E59B45659040}"/>
          </ac:spMkLst>
        </pc:spChg>
        <pc:spChg chg="add mod">
          <ac:chgData name="Elsaker, Sheri" userId="03aeeb51-71af-4ec0-ba02-b4548e55d73c" providerId="ADAL" clId="{1514E898-93AE-43E9-A31B-1164B4C54D66}" dt="2022-10-25T19:10:55.993" v="3427" actId="20577"/>
          <ac:spMkLst>
            <pc:docMk/>
            <pc:sldMk cId="1975784513" sldId="2142"/>
            <ac:spMk id="16" creationId="{4D8F78C3-4095-40FF-89C4-2EBC75D8AEA7}"/>
          </ac:spMkLst>
        </pc:spChg>
        <pc:spChg chg="add mod">
          <ac:chgData name="Elsaker, Sheri" userId="03aeeb51-71af-4ec0-ba02-b4548e55d73c" providerId="ADAL" clId="{1514E898-93AE-43E9-A31B-1164B4C54D66}" dt="2022-10-25T19:10:39.084" v="3374" actId="20577"/>
          <ac:spMkLst>
            <pc:docMk/>
            <pc:sldMk cId="1975784513" sldId="2142"/>
            <ac:spMk id="17" creationId="{4DA6BC79-DCDE-416B-B987-74F19DA7BC1B}"/>
          </ac:spMkLst>
        </pc:spChg>
        <pc:spChg chg="mod">
          <ac:chgData name="Elsaker, Sheri" userId="03aeeb51-71af-4ec0-ba02-b4548e55d73c" providerId="ADAL" clId="{1514E898-93AE-43E9-A31B-1164B4C54D66}" dt="2022-10-27T12:46:44.421" v="6308" actId="20577"/>
          <ac:spMkLst>
            <pc:docMk/>
            <pc:sldMk cId="1975784513" sldId="2142"/>
            <ac:spMk id="19" creationId="{147370EA-7F8D-424B-81E5-0A9D9E740EF0}"/>
          </ac:spMkLst>
        </pc:spChg>
        <pc:spChg chg="mod">
          <ac:chgData name="Elsaker, Sheri" userId="03aeeb51-71af-4ec0-ba02-b4548e55d73c" providerId="ADAL" clId="{1514E898-93AE-43E9-A31B-1164B4C54D66}" dt="2022-10-27T12:46:49.802" v="6317" actId="20577"/>
          <ac:spMkLst>
            <pc:docMk/>
            <pc:sldMk cId="1975784513" sldId="2142"/>
            <ac:spMk id="20" creationId="{9ED80A8B-4D8A-4564-9B81-8CAA4F94F052}"/>
          </ac:spMkLst>
        </pc:spChg>
        <pc:spChg chg="mod">
          <ac:chgData name="Elsaker, Sheri" userId="03aeeb51-71af-4ec0-ba02-b4548e55d73c" providerId="ADAL" clId="{1514E898-93AE-43E9-A31B-1164B4C54D66}" dt="2022-10-27T12:46:25.668" v="6279" actId="20577"/>
          <ac:spMkLst>
            <pc:docMk/>
            <pc:sldMk cId="1975784513" sldId="2142"/>
            <ac:spMk id="21" creationId="{718463A0-B22E-44D0-8775-7EFBBCEDF1F3}"/>
          </ac:spMkLst>
        </pc:spChg>
        <pc:spChg chg="mod">
          <ac:chgData name="Elsaker, Sheri" userId="03aeeb51-71af-4ec0-ba02-b4548e55d73c" providerId="ADAL" clId="{1514E898-93AE-43E9-A31B-1164B4C54D66}" dt="2022-10-27T12:48:10.486" v="6369" actId="20577"/>
          <ac:spMkLst>
            <pc:docMk/>
            <pc:sldMk cId="1975784513" sldId="2142"/>
            <ac:spMk id="22" creationId="{814DA227-5162-4589-BE59-C2897EAAD937}"/>
          </ac:spMkLst>
        </pc:spChg>
        <pc:spChg chg="mod">
          <ac:chgData name="Elsaker, Sheri" userId="03aeeb51-71af-4ec0-ba02-b4548e55d73c" providerId="ADAL" clId="{1514E898-93AE-43E9-A31B-1164B4C54D66}" dt="2022-10-25T19:11:39.493" v="3523" actId="20577"/>
          <ac:spMkLst>
            <pc:docMk/>
            <pc:sldMk cId="1975784513" sldId="2142"/>
            <ac:spMk id="23" creationId="{36B9ED1D-6B9E-4EAA-B5D1-4A557F1269CB}"/>
          </ac:spMkLst>
        </pc:spChg>
        <pc:spChg chg="mod">
          <ac:chgData name="Elsaker, Sheri" userId="03aeeb51-71af-4ec0-ba02-b4548e55d73c" providerId="ADAL" clId="{1514E898-93AE-43E9-A31B-1164B4C54D66}" dt="2022-10-26T13:02:18.226" v="3573"/>
          <ac:spMkLst>
            <pc:docMk/>
            <pc:sldMk cId="1975784513" sldId="2142"/>
            <ac:spMk id="24" creationId="{1F202A57-6C6F-4758-AD37-1F0659D639B6}"/>
          </ac:spMkLst>
        </pc:spChg>
        <pc:spChg chg="mod">
          <ac:chgData name="Elsaker, Sheri" userId="03aeeb51-71af-4ec0-ba02-b4548e55d73c" providerId="ADAL" clId="{1514E898-93AE-43E9-A31B-1164B4C54D66}" dt="2022-10-27T12:46:36.999" v="6297" actId="20577"/>
          <ac:spMkLst>
            <pc:docMk/>
            <pc:sldMk cId="1975784513" sldId="2142"/>
            <ac:spMk id="25" creationId="{33E3C553-8FB7-4EE4-A3A2-7235BC62CB48}"/>
          </ac:spMkLst>
        </pc:spChg>
        <pc:spChg chg="mod">
          <ac:chgData name="Elsaker, Sheri" userId="03aeeb51-71af-4ec0-ba02-b4548e55d73c" providerId="ADAL" clId="{1514E898-93AE-43E9-A31B-1164B4C54D66}" dt="2022-10-27T12:46:32.735" v="6288" actId="20577"/>
          <ac:spMkLst>
            <pc:docMk/>
            <pc:sldMk cId="1975784513" sldId="2142"/>
            <ac:spMk id="26" creationId="{16582A6D-B588-47A7-9D54-9273E0068D80}"/>
          </ac:spMkLst>
        </pc:spChg>
        <pc:spChg chg="mod">
          <ac:chgData name="Elsaker, Sheri" userId="03aeeb51-71af-4ec0-ba02-b4548e55d73c" providerId="ADAL" clId="{1514E898-93AE-43E9-A31B-1164B4C54D66}" dt="2022-10-27T12:47:18.589" v="6324" actId="20577"/>
          <ac:spMkLst>
            <pc:docMk/>
            <pc:sldMk cId="1975784513" sldId="2142"/>
            <ac:spMk id="27" creationId="{297E0858-A07A-4E83-AFAC-88ED7100B260}"/>
          </ac:spMkLst>
        </pc:spChg>
        <pc:spChg chg="del mod">
          <ac:chgData name="Elsaker, Sheri" userId="03aeeb51-71af-4ec0-ba02-b4548e55d73c" providerId="ADAL" clId="{1514E898-93AE-43E9-A31B-1164B4C54D66}" dt="2022-10-25T19:12:02.464" v="3542" actId="478"/>
          <ac:spMkLst>
            <pc:docMk/>
            <pc:sldMk cId="1975784513" sldId="2142"/>
            <ac:spMk id="28" creationId="{42345EF3-4301-4284-88AC-AA8DD7489BD3}"/>
          </ac:spMkLst>
        </pc:spChg>
        <pc:spChg chg="del mod">
          <ac:chgData name="Elsaker, Sheri" userId="03aeeb51-71af-4ec0-ba02-b4548e55d73c" providerId="ADAL" clId="{1514E898-93AE-43E9-A31B-1164B4C54D66}" dt="2022-10-25T19:12:05.508" v="3543" actId="478"/>
          <ac:spMkLst>
            <pc:docMk/>
            <pc:sldMk cId="1975784513" sldId="2142"/>
            <ac:spMk id="29" creationId="{4E562627-F3BE-449F-9BAC-636449C72C1C}"/>
          </ac:spMkLst>
        </pc:spChg>
        <pc:grpChg chg="add del mod">
          <ac:chgData name="Elsaker, Sheri" userId="03aeeb51-71af-4ec0-ba02-b4548e55d73c" providerId="ADAL" clId="{1514E898-93AE-43E9-A31B-1164B4C54D66}" dt="2022-10-25T19:10:29.347" v="3351"/>
          <ac:grpSpMkLst>
            <pc:docMk/>
            <pc:sldMk cId="1975784513" sldId="2142"/>
            <ac:grpSpMk id="4" creationId="{1E5D6D1B-D7B3-4F15-8727-0215FE43FEC8}"/>
          </ac:grpSpMkLst>
        </pc:grpChg>
        <pc:grpChg chg="add mod">
          <ac:chgData name="Elsaker, Sheri" userId="03aeeb51-71af-4ec0-ba02-b4548e55d73c" providerId="ADAL" clId="{1514E898-93AE-43E9-A31B-1164B4C54D66}" dt="2022-10-25T19:12:15.851" v="3544" actId="1076"/>
          <ac:grpSpMkLst>
            <pc:docMk/>
            <pc:sldMk cId="1975784513" sldId="2142"/>
            <ac:grpSpMk id="18" creationId="{3FA85A50-7BF5-4A57-9397-DE95B64FCC7A}"/>
          </ac:grpSpMkLst>
        </pc:grpChg>
      </pc:sldChg>
      <pc:sldChg chg="addSp delSp modSp mod modNotesTx">
        <pc:chgData name="Elsaker, Sheri" userId="03aeeb51-71af-4ec0-ba02-b4548e55d73c" providerId="ADAL" clId="{1514E898-93AE-43E9-A31B-1164B4C54D66}" dt="2022-10-27T15:24:57.047" v="7546" actId="20577"/>
        <pc:sldMkLst>
          <pc:docMk/>
          <pc:sldMk cId="3119844409" sldId="2143"/>
        </pc:sldMkLst>
        <pc:spChg chg="add del">
          <ac:chgData name="Elsaker, Sheri" userId="03aeeb51-71af-4ec0-ba02-b4548e55d73c" providerId="ADAL" clId="{1514E898-93AE-43E9-A31B-1164B4C54D66}" dt="2022-10-27T12:58:31.164" v="6899" actId="478"/>
          <ac:spMkLst>
            <pc:docMk/>
            <pc:sldMk cId="3119844409" sldId="2143"/>
            <ac:spMk id="5" creationId="{062658A5-E64F-4BC5-A1CC-C467BCCA3D64}"/>
          </ac:spMkLst>
        </pc:spChg>
        <pc:spChg chg="add del">
          <ac:chgData name="Elsaker, Sheri" userId="03aeeb51-71af-4ec0-ba02-b4548e55d73c" providerId="ADAL" clId="{1514E898-93AE-43E9-A31B-1164B4C54D66}" dt="2022-10-27T12:58:50.137" v="6901" actId="478"/>
          <ac:spMkLst>
            <pc:docMk/>
            <pc:sldMk cId="3119844409" sldId="2143"/>
            <ac:spMk id="7" creationId="{F5C9CA6A-5718-4BAD-BEBE-7100BCA7E9FB}"/>
          </ac:spMkLst>
        </pc:spChg>
        <pc:spChg chg="mod">
          <ac:chgData name="Elsaker, Sheri" userId="03aeeb51-71af-4ec0-ba02-b4548e55d73c" providerId="ADAL" clId="{1514E898-93AE-43E9-A31B-1164B4C54D66}" dt="2022-10-27T12:59:20.141" v="6902"/>
          <ac:spMkLst>
            <pc:docMk/>
            <pc:sldMk cId="3119844409" sldId="2143"/>
            <ac:spMk id="9" creationId="{38B7DC3C-8A52-42FA-8EEC-0F0D9DA018AA}"/>
          </ac:spMkLst>
        </pc:spChg>
        <pc:spChg chg="mod">
          <ac:chgData name="Elsaker, Sheri" userId="03aeeb51-71af-4ec0-ba02-b4548e55d73c" providerId="ADAL" clId="{1514E898-93AE-43E9-A31B-1164B4C54D66}" dt="2022-10-27T12:59:20.141" v="6902"/>
          <ac:spMkLst>
            <pc:docMk/>
            <pc:sldMk cId="3119844409" sldId="2143"/>
            <ac:spMk id="10" creationId="{C37D0107-22AC-4214-A976-3B5373F41E15}"/>
          </ac:spMkLst>
        </pc:spChg>
        <pc:spChg chg="mod">
          <ac:chgData name="Elsaker, Sheri" userId="03aeeb51-71af-4ec0-ba02-b4548e55d73c" providerId="ADAL" clId="{1514E898-93AE-43E9-A31B-1164B4C54D66}" dt="2022-10-27T12:59:20.141" v="6902"/>
          <ac:spMkLst>
            <pc:docMk/>
            <pc:sldMk cId="3119844409" sldId="2143"/>
            <ac:spMk id="12" creationId="{0385EC7D-8D63-4600-8636-DE70D07886C7}"/>
          </ac:spMkLst>
        </pc:spChg>
        <pc:spChg chg="mod">
          <ac:chgData name="Elsaker, Sheri" userId="03aeeb51-71af-4ec0-ba02-b4548e55d73c" providerId="ADAL" clId="{1514E898-93AE-43E9-A31B-1164B4C54D66}" dt="2022-10-27T12:59:20.141" v="6902"/>
          <ac:spMkLst>
            <pc:docMk/>
            <pc:sldMk cId="3119844409" sldId="2143"/>
            <ac:spMk id="13" creationId="{C557C0D2-6BB9-4B4B-A271-A6DE8C2A825B}"/>
          </ac:spMkLst>
        </pc:spChg>
        <pc:spChg chg="mod">
          <ac:chgData name="Elsaker, Sheri" userId="03aeeb51-71af-4ec0-ba02-b4548e55d73c" providerId="ADAL" clId="{1514E898-93AE-43E9-A31B-1164B4C54D66}" dt="2022-10-27T12:59:20.141" v="6902"/>
          <ac:spMkLst>
            <pc:docMk/>
            <pc:sldMk cId="3119844409" sldId="2143"/>
            <ac:spMk id="15" creationId="{E027391E-C5B1-4D23-BDB5-5AD4EA7C28E3}"/>
          </ac:spMkLst>
        </pc:spChg>
        <pc:spChg chg="mod">
          <ac:chgData name="Elsaker, Sheri" userId="03aeeb51-71af-4ec0-ba02-b4548e55d73c" providerId="ADAL" clId="{1514E898-93AE-43E9-A31B-1164B4C54D66}" dt="2022-10-27T12:59:20.141" v="6902"/>
          <ac:spMkLst>
            <pc:docMk/>
            <pc:sldMk cId="3119844409" sldId="2143"/>
            <ac:spMk id="16" creationId="{46651766-7248-4D89-9853-9364BCCF2D96}"/>
          </ac:spMkLst>
        </pc:spChg>
        <pc:spChg chg="mod">
          <ac:chgData name="Elsaker, Sheri" userId="03aeeb51-71af-4ec0-ba02-b4548e55d73c" providerId="ADAL" clId="{1514E898-93AE-43E9-A31B-1164B4C54D66}" dt="2022-10-27T12:59:20.141" v="6902"/>
          <ac:spMkLst>
            <pc:docMk/>
            <pc:sldMk cId="3119844409" sldId="2143"/>
            <ac:spMk id="18" creationId="{8B15BB18-D177-41D1-9314-548360F2F80F}"/>
          </ac:spMkLst>
        </pc:spChg>
        <pc:spChg chg="mod">
          <ac:chgData name="Elsaker, Sheri" userId="03aeeb51-71af-4ec0-ba02-b4548e55d73c" providerId="ADAL" clId="{1514E898-93AE-43E9-A31B-1164B4C54D66}" dt="2022-10-27T12:59:20.141" v="6902"/>
          <ac:spMkLst>
            <pc:docMk/>
            <pc:sldMk cId="3119844409" sldId="2143"/>
            <ac:spMk id="19" creationId="{DE6BAC95-1961-4269-B00C-732FF6553C2C}"/>
          </ac:spMkLst>
        </pc:spChg>
        <pc:spChg chg="mod">
          <ac:chgData name="Elsaker, Sheri" userId="03aeeb51-71af-4ec0-ba02-b4548e55d73c" providerId="ADAL" clId="{1514E898-93AE-43E9-A31B-1164B4C54D66}" dt="2022-10-27T12:59:20.141" v="6902"/>
          <ac:spMkLst>
            <pc:docMk/>
            <pc:sldMk cId="3119844409" sldId="2143"/>
            <ac:spMk id="21" creationId="{8E102489-4733-420B-B575-AAC1F9FED34C}"/>
          </ac:spMkLst>
        </pc:spChg>
        <pc:spChg chg="mod">
          <ac:chgData name="Elsaker, Sheri" userId="03aeeb51-71af-4ec0-ba02-b4548e55d73c" providerId="ADAL" clId="{1514E898-93AE-43E9-A31B-1164B4C54D66}" dt="2022-10-27T12:59:20.141" v="6902"/>
          <ac:spMkLst>
            <pc:docMk/>
            <pc:sldMk cId="3119844409" sldId="2143"/>
            <ac:spMk id="22" creationId="{7D0FB690-ED23-4F70-BCA5-ABEC17DF2CDA}"/>
          </ac:spMkLst>
        </pc:spChg>
        <pc:spChg chg="mod">
          <ac:chgData name="Elsaker, Sheri" userId="03aeeb51-71af-4ec0-ba02-b4548e55d73c" providerId="ADAL" clId="{1514E898-93AE-43E9-A31B-1164B4C54D66}" dt="2022-10-27T14:25:34.532" v="7485" actId="20577"/>
          <ac:spMkLst>
            <pc:docMk/>
            <pc:sldMk cId="3119844409" sldId="2143"/>
            <ac:spMk id="37" creationId="{4E5B019D-6BC1-4570-9FB3-D8F79C703418}"/>
          </ac:spMkLst>
        </pc:spChg>
        <pc:spChg chg="mod">
          <ac:chgData name="Elsaker, Sheri" userId="03aeeb51-71af-4ec0-ba02-b4548e55d73c" providerId="ADAL" clId="{1514E898-93AE-43E9-A31B-1164B4C54D66}" dt="2022-10-26T20:19:55.081" v="3588" actId="20577"/>
          <ac:spMkLst>
            <pc:docMk/>
            <pc:sldMk cId="3119844409" sldId="2143"/>
            <ac:spMk id="38" creationId="{EEAA6AD0-46E1-4E03-897D-991B591A3AD5}"/>
          </ac:spMkLst>
        </pc:spChg>
        <pc:spChg chg="add mod">
          <ac:chgData name="Elsaker, Sheri" userId="03aeeb51-71af-4ec0-ba02-b4548e55d73c" providerId="ADAL" clId="{1514E898-93AE-43E9-A31B-1164B4C54D66}" dt="2022-10-27T13:08:13.748" v="7329" actId="1037"/>
          <ac:spMkLst>
            <pc:docMk/>
            <pc:sldMk cId="3119844409" sldId="2143"/>
            <ac:spMk id="40" creationId="{69B3B131-4158-4BA8-AEC0-2C8B1306DEC6}"/>
          </ac:spMkLst>
        </pc:spChg>
        <pc:spChg chg="add mod">
          <ac:chgData name="Elsaker, Sheri" userId="03aeeb51-71af-4ec0-ba02-b4548e55d73c" providerId="ADAL" clId="{1514E898-93AE-43E9-A31B-1164B4C54D66}" dt="2022-10-27T13:11:03.428" v="7401" actId="113"/>
          <ac:spMkLst>
            <pc:docMk/>
            <pc:sldMk cId="3119844409" sldId="2143"/>
            <ac:spMk id="41" creationId="{4C0670C2-BF3B-46BE-B0AD-76D6CB351D77}"/>
          </ac:spMkLst>
        </pc:spChg>
        <pc:spChg chg="add mod">
          <ac:chgData name="Elsaker, Sheri" userId="03aeeb51-71af-4ec0-ba02-b4548e55d73c" providerId="ADAL" clId="{1514E898-93AE-43E9-A31B-1164B4C54D66}" dt="2022-10-27T15:24:57.047" v="7546" actId="20577"/>
          <ac:spMkLst>
            <pc:docMk/>
            <pc:sldMk cId="3119844409" sldId="2143"/>
            <ac:spMk id="42" creationId="{974930CA-7930-4747-A99C-010D1AB62E31}"/>
          </ac:spMkLst>
        </pc:spChg>
        <pc:spChg chg="add del mod">
          <ac:chgData name="Elsaker, Sheri" userId="03aeeb51-71af-4ec0-ba02-b4548e55d73c" providerId="ADAL" clId="{1514E898-93AE-43E9-A31B-1164B4C54D66}" dt="2022-10-27T13:04:57.699" v="7238" actId="478"/>
          <ac:spMkLst>
            <pc:docMk/>
            <pc:sldMk cId="3119844409" sldId="2143"/>
            <ac:spMk id="43" creationId="{C1CC3626-156A-43E6-A897-79A92108010D}"/>
          </ac:spMkLst>
        </pc:spChg>
        <pc:spChg chg="add del mod">
          <ac:chgData name="Elsaker, Sheri" userId="03aeeb51-71af-4ec0-ba02-b4548e55d73c" providerId="ADAL" clId="{1514E898-93AE-43E9-A31B-1164B4C54D66}" dt="2022-10-27T13:07:28.050" v="7267" actId="478"/>
          <ac:spMkLst>
            <pc:docMk/>
            <pc:sldMk cId="3119844409" sldId="2143"/>
            <ac:spMk id="44" creationId="{22327AD8-5663-4F00-A487-2E20FC251FEB}"/>
          </ac:spMkLst>
        </pc:spChg>
        <pc:spChg chg="add del mod">
          <ac:chgData name="Elsaker, Sheri" userId="03aeeb51-71af-4ec0-ba02-b4548e55d73c" providerId="ADAL" clId="{1514E898-93AE-43E9-A31B-1164B4C54D66}" dt="2022-10-27T13:08:04.855" v="7305" actId="478"/>
          <ac:spMkLst>
            <pc:docMk/>
            <pc:sldMk cId="3119844409" sldId="2143"/>
            <ac:spMk id="45" creationId="{A44B57BA-86A4-4579-85F3-DB905DA7E089}"/>
          </ac:spMkLst>
        </pc:spChg>
        <pc:grpChg chg="add del mod">
          <ac:chgData name="Elsaker, Sheri" userId="03aeeb51-71af-4ec0-ba02-b4548e55d73c" providerId="ADAL" clId="{1514E898-93AE-43E9-A31B-1164B4C54D66}" dt="2022-10-27T13:07:29.622" v="7268" actId="478"/>
          <ac:grpSpMkLst>
            <pc:docMk/>
            <pc:sldMk cId="3119844409" sldId="2143"/>
            <ac:grpSpMk id="8" creationId="{C741EB97-1129-4F45-99B4-64DFA0D81C9B}"/>
          </ac:grpSpMkLst>
        </pc:grpChg>
        <pc:grpChg chg="add del mod">
          <ac:chgData name="Elsaker, Sheri" userId="03aeeb51-71af-4ec0-ba02-b4548e55d73c" providerId="ADAL" clId="{1514E898-93AE-43E9-A31B-1164B4C54D66}" dt="2022-10-27T13:04:53.197" v="7237" actId="478"/>
          <ac:grpSpMkLst>
            <pc:docMk/>
            <pc:sldMk cId="3119844409" sldId="2143"/>
            <ac:grpSpMk id="11" creationId="{261795F5-4029-440A-AB5D-4699C92F6DD9}"/>
          </ac:grpSpMkLst>
        </pc:grpChg>
        <pc:grpChg chg="add del mod">
          <ac:chgData name="Elsaker, Sheri" userId="03aeeb51-71af-4ec0-ba02-b4548e55d73c" providerId="ADAL" clId="{1514E898-93AE-43E9-A31B-1164B4C54D66}" dt="2022-10-27T13:08:51.737" v="7376" actId="478"/>
          <ac:grpSpMkLst>
            <pc:docMk/>
            <pc:sldMk cId="3119844409" sldId="2143"/>
            <ac:grpSpMk id="14" creationId="{729CABB0-0DB8-4B52-9136-8F2F27DD489A}"/>
          </ac:grpSpMkLst>
        </pc:grpChg>
        <pc:grpChg chg="add mod">
          <ac:chgData name="Elsaker, Sheri" userId="03aeeb51-71af-4ec0-ba02-b4548e55d73c" providerId="ADAL" clId="{1514E898-93AE-43E9-A31B-1164B4C54D66}" dt="2022-10-27T13:09:41.617" v="7387" actId="1035"/>
          <ac:grpSpMkLst>
            <pc:docMk/>
            <pc:sldMk cId="3119844409" sldId="2143"/>
            <ac:grpSpMk id="17" creationId="{05945F6D-B3E3-4CFE-8B55-E54306801725}"/>
          </ac:grpSpMkLst>
        </pc:grpChg>
        <pc:grpChg chg="add mod">
          <ac:chgData name="Elsaker, Sheri" userId="03aeeb51-71af-4ec0-ba02-b4548e55d73c" providerId="ADAL" clId="{1514E898-93AE-43E9-A31B-1164B4C54D66}" dt="2022-10-27T13:09:41.617" v="7387" actId="1035"/>
          <ac:grpSpMkLst>
            <pc:docMk/>
            <pc:sldMk cId="3119844409" sldId="2143"/>
            <ac:grpSpMk id="20" creationId="{488DAEFF-18B6-43AE-A55D-33143C358486}"/>
          </ac:grpSpMkLst>
        </pc:grpChg>
        <pc:grpChg chg="add mod">
          <ac:chgData name="Elsaker, Sheri" userId="03aeeb51-71af-4ec0-ba02-b4548e55d73c" providerId="ADAL" clId="{1514E898-93AE-43E9-A31B-1164B4C54D66}" dt="2022-10-27T13:00:14.357" v="7008" actId="1035"/>
          <ac:grpSpMkLst>
            <pc:docMk/>
            <pc:sldMk cId="3119844409" sldId="2143"/>
            <ac:grpSpMk id="23" creationId="{B3300688-1F0C-4149-A290-B87B3FE51DC2}"/>
          </ac:grpSpMkLst>
        </pc:grpChg>
        <pc:grpChg chg="add mod">
          <ac:chgData name="Elsaker, Sheri" userId="03aeeb51-71af-4ec0-ba02-b4548e55d73c" providerId="ADAL" clId="{1514E898-93AE-43E9-A31B-1164B4C54D66}" dt="2022-10-27T13:10:28.536" v="7398" actId="1037"/>
          <ac:grpSpMkLst>
            <pc:docMk/>
            <pc:sldMk cId="3119844409" sldId="2143"/>
            <ac:grpSpMk id="27" creationId="{F2A452E0-7A08-4C33-BA49-0581505CB9F7}"/>
          </ac:grpSpMkLst>
        </pc:grpChg>
        <pc:grpChg chg="add mod">
          <ac:chgData name="Elsaker, Sheri" userId="03aeeb51-71af-4ec0-ba02-b4548e55d73c" providerId="ADAL" clId="{1514E898-93AE-43E9-A31B-1164B4C54D66}" dt="2022-10-27T13:10:16.373" v="7397" actId="1036"/>
          <ac:grpSpMkLst>
            <pc:docMk/>
            <pc:sldMk cId="3119844409" sldId="2143"/>
            <ac:grpSpMk id="31" creationId="{19E4A361-E92D-4E5A-9D77-5550AB136DC1}"/>
          </ac:grpSpMkLst>
        </pc:grpChg>
        <pc:picChg chg="add mod">
          <ac:chgData name="Elsaker, Sheri" userId="03aeeb51-71af-4ec0-ba02-b4548e55d73c" providerId="ADAL" clId="{1514E898-93AE-43E9-A31B-1164B4C54D66}" dt="2022-10-27T13:08:28.796" v="7346" actId="1035"/>
          <ac:picMkLst>
            <pc:docMk/>
            <pc:sldMk cId="3119844409" sldId="2143"/>
            <ac:picMk id="47" creationId="{5558F156-CC6F-4C8D-83A8-64EAE0F1B172}"/>
          </ac:picMkLst>
        </pc:picChg>
        <pc:picChg chg="add mod">
          <ac:chgData name="Elsaker, Sheri" userId="03aeeb51-71af-4ec0-ba02-b4548e55d73c" providerId="ADAL" clId="{1514E898-93AE-43E9-A31B-1164B4C54D66}" dt="2022-10-27T13:07:44.478" v="7290" actId="1076"/>
          <ac:picMkLst>
            <pc:docMk/>
            <pc:sldMk cId="3119844409" sldId="2143"/>
            <ac:picMk id="49" creationId="{00A84166-A90E-4D28-99C3-9997331F7C7E}"/>
          </ac:picMkLst>
        </pc:picChg>
        <pc:picChg chg="add mod">
          <ac:chgData name="Elsaker, Sheri" userId="03aeeb51-71af-4ec0-ba02-b4548e55d73c" providerId="ADAL" clId="{1514E898-93AE-43E9-A31B-1164B4C54D66}" dt="2022-10-27T13:09:28.412" v="7379" actId="207"/>
          <ac:picMkLst>
            <pc:docMk/>
            <pc:sldMk cId="3119844409" sldId="2143"/>
            <ac:picMk id="52" creationId="{E0B774A9-284B-4873-94D5-FDE3D784B23A}"/>
          </ac:picMkLst>
        </pc:picChg>
        <pc:cxnChg chg="mod">
          <ac:chgData name="Elsaker, Sheri" userId="03aeeb51-71af-4ec0-ba02-b4548e55d73c" providerId="ADAL" clId="{1514E898-93AE-43E9-A31B-1164B4C54D66}" dt="2022-10-27T12:59:20.141" v="6902"/>
          <ac:cxnSpMkLst>
            <pc:docMk/>
            <pc:sldMk cId="3119844409" sldId="2143"/>
            <ac:cxnSpMk id="24" creationId="{B35BD1A9-B202-4778-8D3C-DD8FD73C85D7}"/>
          </ac:cxnSpMkLst>
        </pc:cxnChg>
        <pc:cxnChg chg="mod">
          <ac:chgData name="Elsaker, Sheri" userId="03aeeb51-71af-4ec0-ba02-b4548e55d73c" providerId="ADAL" clId="{1514E898-93AE-43E9-A31B-1164B4C54D66}" dt="2022-10-27T12:59:20.141" v="6902"/>
          <ac:cxnSpMkLst>
            <pc:docMk/>
            <pc:sldMk cId="3119844409" sldId="2143"/>
            <ac:cxnSpMk id="25" creationId="{7100E6D8-30F0-41E0-82B3-95526AC930EF}"/>
          </ac:cxnSpMkLst>
        </pc:cxnChg>
        <pc:cxnChg chg="mod">
          <ac:chgData name="Elsaker, Sheri" userId="03aeeb51-71af-4ec0-ba02-b4548e55d73c" providerId="ADAL" clId="{1514E898-93AE-43E9-A31B-1164B4C54D66}" dt="2022-10-27T12:59:20.141" v="6902"/>
          <ac:cxnSpMkLst>
            <pc:docMk/>
            <pc:sldMk cId="3119844409" sldId="2143"/>
            <ac:cxnSpMk id="26" creationId="{4CDF1858-0364-4843-AA0E-D760DED89C1D}"/>
          </ac:cxnSpMkLst>
        </pc:cxnChg>
        <pc:cxnChg chg="mod">
          <ac:chgData name="Elsaker, Sheri" userId="03aeeb51-71af-4ec0-ba02-b4548e55d73c" providerId="ADAL" clId="{1514E898-93AE-43E9-A31B-1164B4C54D66}" dt="2022-10-27T12:59:20.141" v="6902"/>
          <ac:cxnSpMkLst>
            <pc:docMk/>
            <pc:sldMk cId="3119844409" sldId="2143"/>
            <ac:cxnSpMk id="28" creationId="{8F1B2D10-5E7C-435F-8E02-F31B124D8971}"/>
          </ac:cxnSpMkLst>
        </pc:cxnChg>
        <pc:cxnChg chg="mod">
          <ac:chgData name="Elsaker, Sheri" userId="03aeeb51-71af-4ec0-ba02-b4548e55d73c" providerId="ADAL" clId="{1514E898-93AE-43E9-A31B-1164B4C54D66}" dt="2022-10-27T12:59:20.141" v="6902"/>
          <ac:cxnSpMkLst>
            <pc:docMk/>
            <pc:sldMk cId="3119844409" sldId="2143"/>
            <ac:cxnSpMk id="29" creationId="{05CEE67D-2002-4F92-94AD-93EA9368D6D9}"/>
          </ac:cxnSpMkLst>
        </pc:cxnChg>
        <pc:cxnChg chg="mod">
          <ac:chgData name="Elsaker, Sheri" userId="03aeeb51-71af-4ec0-ba02-b4548e55d73c" providerId="ADAL" clId="{1514E898-93AE-43E9-A31B-1164B4C54D66}" dt="2022-10-27T12:59:20.141" v="6902"/>
          <ac:cxnSpMkLst>
            <pc:docMk/>
            <pc:sldMk cId="3119844409" sldId="2143"/>
            <ac:cxnSpMk id="30" creationId="{3D3AFD96-C582-4AA9-902F-DE4487BCE767}"/>
          </ac:cxnSpMkLst>
        </pc:cxnChg>
        <pc:cxnChg chg="mod">
          <ac:chgData name="Elsaker, Sheri" userId="03aeeb51-71af-4ec0-ba02-b4548e55d73c" providerId="ADAL" clId="{1514E898-93AE-43E9-A31B-1164B4C54D66}" dt="2022-10-27T12:59:20.141" v="6902"/>
          <ac:cxnSpMkLst>
            <pc:docMk/>
            <pc:sldMk cId="3119844409" sldId="2143"/>
            <ac:cxnSpMk id="32" creationId="{17BBAB6E-8168-43A2-B6DE-FE4C751DBE81}"/>
          </ac:cxnSpMkLst>
        </pc:cxnChg>
        <pc:cxnChg chg="mod">
          <ac:chgData name="Elsaker, Sheri" userId="03aeeb51-71af-4ec0-ba02-b4548e55d73c" providerId="ADAL" clId="{1514E898-93AE-43E9-A31B-1164B4C54D66}" dt="2022-10-27T12:59:20.141" v="6902"/>
          <ac:cxnSpMkLst>
            <pc:docMk/>
            <pc:sldMk cId="3119844409" sldId="2143"/>
            <ac:cxnSpMk id="33" creationId="{ECDAF6D5-68C9-44A7-89A1-EC1E096A2CB3}"/>
          </ac:cxnSpMkLst>
        </pc:cxnChg>
        <pc:cxnChg chg="mod">
          <ac:chgData name="Elsaker, Sheri" userId="03aeeb51-71af-4ec0-ba02-b4548e55d73c" providerId="ADAL" clId="{1514E898-93AE-43E9-A31B-1164B4C54D66}" dt="2022-10-27T12:59:20.141" v="6902"/>
          <ac:cxnSpMkLst>
            <pc:docMk/>
            <pc:sldMk cId="3119844409" sldId="2143"/>
            <ac:cxnSpMk id="34" creationId="{7DCA77D8-45F9-43E9-8579-09DEA272AA00}"/>
          </ac:cxnSpMkLst>
        </pc:cxnChg>
        <pc:cxnChg chg="add mod">
          <ac:chgData name="Elsaker, Sheri" userId="03aeeb51-71af-4ec0-ba02-b4548e55d73c" providerId="ADAL" clId="{1514E898-93AE-43E9-A31B-1164B4C54D66}" dt="2022-10-27T13:00:14.357" v="7008" actId="1035"/>
          <ac:cxnSpMkLst>
            <pc:docMk/>
            <pc:sldMk cId="3119844409" sldId="2143"/>
            <ac:cxnSpMk id="35" creationId="{82AA3846-A17F-49D0-825A-7C57387151E0}"/>
          </ac:cxnSpMkLst>
        </pc:cxnChg>
        <pc:cxnChg chg="add mod">
          <ac:chgData name="Elsaker, Sheri" userId="03aeeb51-71af-4ec0-ba02-b4548e55d73c" providerId="ADAL" clId="{1514E898-93AE-43E9-A31B-1164B4C54D66}" dt="2022-10-27T13:10:38.712" v="7399" actId="14100"/>
          <ac:cxnSpMkLst>
            <pc:docMk/>
            <pc:sldMk cId="3119844409" sldId="2143"/>
            <ac:cxnSpMk id="36" creationId="{C5EC2BFB-7F83-4AD4-9EA5-BE3322A1ADE6}"/>
          </ac:cxnSpMkLst>
        </pc:cxnChg>
        <pc:cxnChg chg="add mod">
          <ac:chgData name="Elsaker, Sheri" userId="03aeeb51-71af-4ec0-ba02-b4548e55d73c" providerId="ADAL" clId="{1514E898-93AE-43E9-A31B-1164B4C54D66}" dt="2022-10-27T13:00:32.234" v="7012" actId="14100"/>
          <ac:cxnSpMkLst>
            <pc:docMk/>
            <pc:sldMk cId="3119844409" sldId="2143"/>
            <ac:cxnSpMk id="39" creationId="{EE8890CF-8BF1-477C-9F4C-FA14290E51FA}"/>
          </ac:cxnSpMkLst>
        </pc:cxnChg>
      </pc:sldChg>
      <pc:sldChg chg="addSp modSp new mod modNotesTx">
        <pc:chgData name="Elsaker, Sheri" userId="03aeeb51-71af-4ec0-ba02-b4548e55d73c" providerId="ADAL" clId="{1514E898-93AE-43E9-A31B-1164B4C54D66}" dt="2022-10-27T15:24:43.297" v="7543" actId="20577"/>
        <pc:sldMkLst>
          <pc:docMk/>
          <pc:sldMk cId="569897438" sldId="2144"/>
        </pc:sldMkLst>
        <pc:spChg chg="add mod">
          <ac:chgData name="Elsaker, Sheri" userId="03aeeb51-71af-4ec0-ba02-b4548e55d73c" providerId="ADAL" clId="{1514E898-93AE-43E9-A31B-1164B4C54D66}" dt="2022-10-27T13:03:55.796" v="7233" actId="20577"/>
          <ac:spMkLst>
            <pc:docMk/>
            <pc:sldMk cId="569897438" sldId="2144"/>
            <ac:spMk id="2" creationId="{14ED20B2-4050-4BB1-A926-878A6302A344}"/>
          </ac:spMkLst>
        </pc:spChg>
      </pc:sldChg>
      <pc:sldChg chg="delSp modSp add mod">
        <pc:chgData name="Elsaker, Sheri" userId="03aeeb51-71af-4ec0-ba02-b4548e55d73c" providerId="ADAL" clId="{1514E898-93AE-43E9-A31B-1164B4C54D66}" dt="2022-10-27T16:11:43.825" v="7830" actId="20577"/>
        <pc:sldMkLst>
          <pc:docMk/>
          <pc:sldMk cId="1335653565" sldId="2145"/>
        </pc:sldMkLst>
        <pc:spChg chg="mod">
          <ac:chgData name="Elsaker, Sheri" userId="03aeeb51-71af-4ec0-ba02-b4548e55d73c" providerId="ADAL" clId="{1514E898-93AE-43E9-A31B-1164B4C54D66}" dt="2022-10-27T16:11:43.825" v="7830" actId="20577"/>
          <ac:spMkLst>
            <pc:docMk/>
            <pc:sldMk cId="1335653565" sldId="2145"/>
            <ac:spMk id="37" creationId="{4E5B019D-6BC1-4570-9FB3-D8F79C703418}"/>
          </ac:spMkLst>
        </pc:spChg>
        <pc:picChg chg="del">
          <ac:chgData name="Elsaker, Sheri" userId="03aeeb51-71af-4ec0-ba02-b4548e55d73c" providerId="ADAL" clId="{1514E898-93AE-43E9-A31B-1164B4C54D66}" dt="2022-10-27T16:10:20.870" v="7760" actId="478"/>
          <ac:picMkLst>
            <pc:docMk/>
            <pc:sldMk cId="1335653565" sldId="2145"/>
            <ac:picMk id="1026" creationId="{BFA2F62C-5CC5-4D7B-90C9-016DD0EA5C85}"/>
          </ac:picMkLst>
        </pc:picChg>
        <pc:picChg chg="mod">
          <ac:chgData name="Elsaker, Sheri" userId="03aeeb51-71af-4ec0-ba02-b4548e55d73c" providerId="ADAL" clId="{1514E898-93AE-43E9-A31B-1164B4C54D66}" dt="2022-10-27T16:10:30.954" v="7763" actId="1076"/>
          <ac:picMkLst>
            <pc:docMk/>
            <pc:sldMk cId="1335653565" sldId="2145"/>
            <ac:picMk id="1027" creationId="{C39806A0-C3EC-4D91-B7FF-8202A18A8A59}"/>
          </ac:picMkLst>
        </pc:picChg>
      </pc:sldChg>
      <pc:sldChg chg="addSp delSp modSp mod ord">
        <pc:chgData name="Elsaker, Sheri" userId="03aeeb51-71af-4ec0-ba02-b4548e55d73c" providerId="ADAL" clId="{1514E898-93AE-43E9-A31B-1164B4C54D66}" dt="2022-10-27T17:03:43.291" v="8735" actId="1076"/>
        <pc:sldMkLst>
          <pc:docMk/>
          <pc:sldMk cId="605905717" sldId="2146"/>
        </pc:sldMkLst>
        <pc:spChg chg="del mod">
          <ac:chgData name="Elsaker, Sheri" userId="03aeeb51-71af-4ec0-ba02-b4548e55d73c" providerId="ADAL" clId="{1514E898-93AE-43E9-A31B-1164B4C54D66}" dt="2022-10-27T16:42:13.357" v="8280" actId="478"/>
          <ac:spMkLst>
            <pc:docMk/>
            <pc:sldMk cId="605905717" sldId="2146"/>
            <ac:spMk id="9" creationId="{F06D3CA6-2FE0-4B26-A5D0-F6F8BF96EC0D}"/>
          </ac:spMkLst>
        </pc:spChg>
        <pc:spChg chg="mod">
          <ac:chgData name="Elsaker, Sheri" userId="03aeeb51-71af-4ec0-ba02-b4548e55d73c" providerId="ADAL" clId="{1514E898-93AE-43E9-A31B-1164B4C54D66}" dt="2022-10-27T17:01:44.644" v="8724" actId="20577"/>
          <ac:spMkLst>
            <pc:docMk/>
            <pc:sldMk cId="605905717" sldId="2146"/>
            <ac:spMk id="37" creationId="{4E5B019D-6BC1-4570-9FB3-D8F79C703418}"/>
          </ac:spMkLst>
        </pc:spChg>
        <pc:picChg chg="add del mod">
          <ac:chgData name="Elsaker, Sheri" userId="03aeeb51-71af-4ec0-ba02-b4548e55d73c" providerId="ADAL" clId="{1514E898-93AE-43E9-A31B-1164B4C54D66}" dt="2022-10-27T17:03:40.261" v="8734" actId="478"/>
          <ac:picMkLst>
            <pc:docMk/>
            <pc:sldMk cId="605905717" sldId="2146"/>
            <ac:picMk id="3" creationId="{5F7A2945-44A1-44D8-B42A-C8CE792B90ED}"/>
          </ac:picMkLst>
        </pc:picChg>
        <pc:picChg chg="add mod">
          <ac:chgData name="Elsaker, Sheri" userId="03aeeb51-71af-4ec0-ba02-b4548e55d73c" providerId="ADAL" clId="{1514E898-93AE-43E9-A31B-1164B4C54D66}" dt="2022-10-27T17:03:43.291" v="8735" actId="1076"/>
          <ac:picMkLst>
            <pc:docMk/>
            <pc:sldMk cId="605905717" sldId="2146"/>
            <ac:picMk id="6" creationId="{65D98BCE-8E60-467B-9FC6-0E7F439252A5}"/>
          </ac:picMkLst>
        </pc:picChg>
        <pc:picChg chg="del mod">
          <ac:chgData name="Elsaker, Sheri" userId="03aeeb51-71af-4ec0-ba02-b4548e55d73c" providerId="ADAL" clId="{1514E898-93AE-43E9-A31B-1164B4C54D66}" dt="2022-10-27T16:42:08.745" v="8278" actId="478"/>
          <ac:picMkLst>
            <pc:docMk/>
            <pc:sldMk cId="605905717" sldId="2146"/>
            <ac:picMk id="8" creationId="{89C38393-6EC7-4699-9892-D20B177003DB}"/>
          </ac:picMkLst>
        </pc:picChg>
        <pc:cxnChg chg="del mod">
          <ac:chgData name="Elsaker, Sheri" userId="03aeeb51-71af-4ec0-ba02-b4548e55d73c" providerId="ADAL" clId="{1514E898-93AE-43E9-A31B-1164B4C54D66}" dt="2022-10-27T16:42:11.069" v="8279" actId="478"/>
          <ac:cxnSpMkLst>
            <pc:docMk/>
            <pc:sldMk cId="605905717" sldId="2146"/>
            <ac:cxnSpMk id="5" creationId="{76C5A827-54F0-4729-9262-C073F734BDFF}"/>
          </ac:cxnSpMkLst>
        </pc:cxnChg>
      </pc:sldChg>
      <pc:sldChg chg="modSp mod">
        <pc:chgData name="Elsaker, Sheri" userId="03aeeb51-71af-4ec0-ba02-b4548e55d73c" providerId="ADAL" clId="{1514E898-93AE-43E9-A31B-1164B4C54D66}" dt="2022-10-27T17:12:15.777" v="8739" actId="113"/>
        <pc:sldMkLst>
          <pc:docMk/>
          <pc:sldMk cId="1904082048" sldId="2147"/>
        </pc:sldMkLst>
        <pc:spChg chg="mod">
          <ac:chgData name="Elsaker, Sheri" userId="03aeeb51-71af-4ec0-ba02-b4548e55d73c" providerId="ADAL" clId="{1514E898-93AE-43E9-A31B-1164B4C54D66}" dt="2022-10-27T17:12:15.777" v="8739" actId="113"/>
          <ac:spMkLst>
            <pc:docMk/>
            <pc:sldMk cId="1904082048" sldId="2147"/>
            <ac:spMk id="7" creationId="{16286214-2135-4C56-9CA7-F92FED380EEB}"/>
          </ac:spMkLst>
        </pc:spChg>
      </pc:sldChg>
      <pc:sldChg chg="addSp delSp modSp mod setBg">
        <pc:chgData name="Elsaker, Sheri" userId="03aeeb51-71af-4ec0-ba02-b4548e55d73c" providerId="ADAL" clId="{1514E898-93AE-43E9-A31B-1164B4C54D66}" dt="2022-10-27T16:44:46.892" v="8445" actId="1076"/>
        <pc:sldMkLst>
          <pc:docMk/>
          <pc:sldMk cId="205456675" sldId="2148"/>
        </pc:sldMkLst>
        <pc:spChg chg="mod ord">
          <ac:chgData name="Elsaker, Sheri" userId="03aeeb51-71af-4ec0-ba02-b4548e55d73c" providerId="ADAL" clId="{1514E898-93AE-43E9-A31B-1164B4C54D66}" dt="2022-10-27T16:44:41.522" v="8444" actId="26606"/>
          <ac:spMkLst>
            <pc:docMk/>
            <pc:sldMk cId="205456675" sldId="2148"/>
            <ac:spMk id="37" creationId="{4E5B019D-6BC1-4570-9FB3-D8F79C703418}"/>
          </ac:spMkLst>
        </pc:spChg>
        <pc:spChg chg="mod">
          <ac:chgData name="Elsaker, Sheri" userId="03aeeb51-71af-4ec0-ba02-b4548e55d73c" providerId="ADAL" clId="{1514E898-93AE-43E9-A31B-1164B4C54D66}" dt="2022-10-27T16:44:41.522" v="8444" actId="26606"/>
          <ac:spMkLst>
            <pc:docMk/>
            <pc:sldMk cId="205456675" sldId="2148"/>
            <ac:spMk id="38" creationId="{EEAA6AD0-46E1-4E03-897D-991B591A3AD5}"/>
          </ac:spMkLst>
        </pc:spChg>
        <pc:spChg chg="add del">
          <ac:chgData name="Elsaker, Sheri" userId="03aeeb51-71af-4ec0-ba02-b4548e55d73c" providerId="ADAL" clId="{1514E898-93AE-43E9-A31B-1164B4C54D66}" dt="2022-10-27T16:44:41.522" v="8444" actId="26606"/>
          <ac:spMkLst>
            <pc:docMk/>
            <pc:sldMk cId="205456675" sldId="2148"/>
            <ac:spMk id="2055" creationId="{2550BE34-C2B8-49B8-8519-67A8CAD51AE9}"/>
          </ac:spMkLst>
        </pc:spChg>
        <pc:spChg chg="add del">
          <ac:chgData name="Elsaker, Sheri" userId="03aeeb51-71af-4ec0-ba02-b4548e55d73c" providerId="ADAL" clId="{1514E898-93AE-43E9-A31B-1164B4C54D66}" dt="2022-10-27T16:44:41.522" v="8444" actId="26606"/>
          <ac:spMkLst>
            <pc:docMk/>
            <pc:sldMk cId="205456675" sldId="2148"/>
            <ac:spMk id="2057" creationId="{A7457DD9-5A45-400A-AB4B-4B4EDECA25F1}"/>
          </ac:spMkLst>
        </pc:spChg>
        <pc:spChg chg="add del">
          <ac:chgData name="Elsaker, Sheri" userId="03aeeb51-71af-4ec0-ba02-b4548e55d73c" providerId="ADAL" clId="{1514E898-93AE-43E9-A31B-1164B4C54D66}" dt="2022-10-27T16:44:41.522" v="8444" actId="26606"/>
          <ac:spMkLst>
            <pc:docMk/>
            <pc:sldMk cId="205456675" sldId="2148"/>
            <ac:spMk id="2059" creationId="{441CF7D6-A660-431A-B0BB-140A0D5556B6}"/>
          </ac:spMkLst>
        </pc:spChg>
        <pc:spChg chg="add del">
          <ac:chgData name="Elsaker, Sheri" userId="03aeeb51-71af-4ec0-ba02-b4548e55d73c" providerId="ADAL" clId="{1514E898-93AE-43E9-A31B-1164B4C54D66}" dt="2022-10-27T16:44:41.522" v="8444" actId="26606"/>
          <ac:spMkLst>
            <pc:docMk/>
            <pc:sldMk cId="205456675" sldId="2148"/>
            <ac:spMk id="2061" creationId="{0570A85B-3810-4F95-97B0-CBF4CCDB381C}"/>
          </ac:spMkLst>
        </pc:spChg>
        <pc:spChg chg="add del">
          <ac:chgData name="Elsaker, Sheri" userId="03aeeb51-71af-4ec0-ba02-b4548e55d73c" providerId="ADAL" clId="{1514E898-93AE-43E9-A31B-1164B4C54D66}" dt="2022-10-27T16:44:21.539" v="8437" actId="26606"/>
          <ac:spMkLst>
            <pc:docMk/>
            <pc:sldMk cId="205456675" sldId="2148"/>
            <ac:spMk id="2066" creationId="{B0792D4F-247E-46FE-85FC-881DEFA41D94}"/>
          </ac:spMkLst>
        </pc:spChg>
        <pc:spChg chg="add del">
          <ac:chgData name="Elsaker, Sheri" userId="03aeeb51-71af-4ec0-ba02-b4548e55d73c" providerId="ADAL" clId="{1514E898-93AE-43E9-A31B-1164B4C54D66}" dt="2022-10-27T16:44:27.110" v="8439" actId="26606"/>
          <ac:spMkLst>
            <pc:docMk/>
            <pc:sldMk cId="205456675" sldId="2148"/>
            <ac:spMk id="2070" creationId="{441CF7D6-A660-431A-B0BB-140A0D5556B6}"/>
          </ac:spMkLst>
        </pc:spChg>
        <pc:spChg chg="add del">
          <ac:chgData name="Elsaker, Sheri" userId="03aeeb51-71af-4ec0-ba02-b4548e55d73c" providerId="ADAL" clId="{1514E898-93AE-43E9-A31B-1164B4C54D66}" dt="2022-10-27T16:44:27.110" v="8439" actId="26606"/>
          <ac:spMkLst>
            <pc:docMk/>
            <pc:sldMk cId="205456675" sldId="2148"/>
            <ac:spMk id="2071" creationId="{2550BE34-C2B8-49B8-8519-67A8CAD51AE9}"/>
          </ac:spMkLst>
        </pc:spChg>
        <pc:spChg chg="add del">
          <ac:chgData name="Elsaker, Sheri" userId="03aeeb51-71af-4ec0-ba02-b4548e55d73c" providerId="ADAL" clId="{1514E898-93AE-43E9-A31B-1164B4C54D66}" dt="2022-10-27T16:44:27.110" v="8439" actId="26606"/>
          <ac:spMkLst>
            <pc:docMk/>
            <pc:sldMk cId="205456675" sldId="2148"/>
            <ac:spMk id="2072" creationId="{0570A85B-3810-4F95-97B0-CBF4CCDB381C}"/>
          </ac:spMkLst>
        </pc:spChg>
        <pc:spChg chg="add del">
          <ac:chgData name="Elsaker, Sheri" userId="03aeeb51-71af-4ec0-ba02-b4548e55d73c" providerId="ADAL" clId="{1514E898-93AE-43E9-A31B-1164B4C54D66}" dt="2022-10-27T16:44:27.110" v="8439" actId="26606"/>
          <ac:spMkLst>
            <pc:docMk/>
            <pc:sldMk cId="205456675" sldId="2148"/>
            <ac:spMk id="2073" creationId="{A7457DD9-5A45-400A-AB4B-4B4EDECA25F1}"/>
          </ac:spMkLst>
        </pc:spChg>
        <pc:spChg chg="add del">
          <ac:chgData name="Elsaker, Sheri" userId="03aeeb51-71af-4ec0-ba02-b4548e55d73c" providerId="ADAL" clId="{1514E898-93AE-43E9-A31B-1164B4C54D66}" dt="2022-10-27T16:44:40.198" v="8442" actId="26606"/>
          <ac:spMkLst>
            <pc:docMk/>
            <pc:sldMk cId="205456675" sldId="2148"/>
            <ac:spMk id="2075" creationId="{B0792D4F-247E-46FE-85FC-881DEFA41D94}"/>
          </ac:spMkLst>
        </pc:spChg>
        <pc:picChg chg="del">
          <ac:chgData name="Elsaker, Sheri" userId="03aeeb51-71af-4ec0-ba02-b4548e55d73c" providerId="ADAL" clId="{1514E898-93AE-43E9-A31B-1164B4C54D66}" dt="2022-10-27T16:43:30.216" v="8430" actId="478"/>
          <ac:picMkLst>
            <pc:docMk/>
            <pc:sldMk cId="205456675" sldId="2148"/>
            <ac:picMk id="1027" creationId="{C39806A0-C3EC-4D91-B7FF-8202A18A8A59}"/>
          </ac:picMkLst>
        </pc:picChg>
        <pc:picChg chg="add mod">
          <ac:chgData name="Elsaker, Sheri" userId="03aeeb51-71af-4ec0-ba02-b4548e55d73c" providerId="ADAL" clId="{1514E898-93AE-43E9-A31B-1164B4C54D66}" dt="2022-10-27T16:44:46.892" v="8445" actId="1076"/>
          <ac:picMkLst>
            <pc:docMk/>
            <pc:sldMk cId="205456675" sldId="2148"/>
            <ac:picMk id="2050" creationId="{2CD444EA-9659-439B-B1E9-EF50B2A0C1B6}"/>
          </ac:picMkLst>
        </pc:picChg>
        <pc:cxnChg chg="add del">
          <ac:chgData name="Elsaker, Sheri" userId="03aeeb51-71af-4ec0-ba02-b4548e55d73c" providerId="ADAL" clId="{1514E898-93AE-43E9-A31B-1164B4C54D66}" dt="2022-10-27T16:44:21.539" v="8437" actId="26606"/>
          <ac:cxnSpMkLst>
            <pc:docMk/>
            <pc:sldMk cId="205456675" sldId="2148"/>
            <ac:cxnSpMk id="2068" creationId="{CE272F12-AF86-441A-BC1B-C014BBBF85B5}"/>
          </ac:cxnSpMkLst>
        </pc:cxnChg>
        <pc:cxnChg chg="add del">
          <ac:chgData name="Elsaker, Sheri" userId="03aeeb51-71af-4ec0-ba02-b4548e55d73c" providerId="ADAL" clId="{1514E898-93AE-43E9-A31B-1164B4C54D66}" dt="2022-10-27T16:44:40.198" v="8442" actId="26606"/>
          <ac:cxnSpMkLst>
            <pc:docMk/>
            <pc:sldMk cId="205456675" sldId="2148"/>
            <ac:cxnSpMk id="2076" creationId="{CE272F12-AF86-441A-BC1B-C014BBBF85B5}"/>
          </ac:cxnSpMkLst>
        </pc:cxnChg>
      </pc:sldChg>
      <pc:sldChg chg="modSp mod">
        <pc:chgData name="Elsaker, Sheri" userId="03aeeb51-71af-4ec0-ba02-b4548e55d73c" providerId="ADAL" clId="{1514E898-93AE-43E9-A31B-1164B4C54D66}" dt="2022-10-27T17:12:41.391" v="8745" actId="113"/>
        <pc:sldMkLst>
          <pc:docMk/>
          <pc:sldMk cId="1906708045" sldId="2149"/>
        </pc:sldMkLst>
        <pc:spChg chg="mod">
          <ac:chgData name="Elsaker, Sheri" userId="03aeeb51-71af-4ec0-ba02-b4548e55d73c" providerId="ADAL" clId="{1514E898-93AE-43E9-A31B-1164B4C54D66}" dt="2022-10-27T17:12:41.391" v="8745" actId="113"/>
          <ac:spMkLst>
            <pc:docMk/>
            <pc:sldMk cId="1906708045" sldId="2149"/>
            <ac:spMk id="7" creationId="{16286214-2135-4C56-9CA7-F92FED380EEB}"/>
          </ac:spMkLst>
        </pc:spChg>
      </pc:sldChg>
      <pc:sldMasterChg chg="delSldLayout">
        <pc:chgData name="Elsaker, Sheri" userId="03aeeb51-71af-4ec0-ba02-b4548e55d73c" providerId="ADAL" clId="{1514E898-93AE-43E9-A31B-1164B4C54D66}" dt="2022-10-25T14:14:02.522" v="1082" actId="47"/>
        <pc:sldMasterMkLst>
          <pc:docMk/>
          <pc:sldMasterMk cId="915016930" sldId="2147483772"/>
        </pc:sldMasterMkLst>
        <pc:sldLayoutChg chg="del">
          <pc:chgData name="Elsaker, Sheri" userId="03aeeb51-71af-4ec0-ba02-b4548e55d73c" providerId="ADAL" clId="{1514E898-93AE-43E9-A31B-1164B4C54D66}" dt="2022-10-25T14:14:02.522" v="1082" actId="47"/>
          <pc:sldLayoutMkLst>
            <pc:docMk/>
            <pc:sldMasterMk cId="915016930" sldId="2147483772"/>
            <pc:sldLayoutMk cId="851287259" sldId="2147483789"/>
          </pc:sldLayoutMkLst>
        </pc:sldLayoutChg>
      </pc:sldMasterChg>
      <pc:sldMasterChg chg="del delSldLayout">
        <pc:chgData name="Elsaker, Sheri" userId="03aeeb51-71af-4ec0-ba02-b4548e55d73c" providerId="ADAL" clId="{1514E898-93AE-43E9-A31B-1164B4C54D66}" dt="2022-10-25T18:31:47.766" v="2609" actId="47"/>
        <pc:sldMasterMkLst>
          <pc:docMk/>
          <pc:sldMasterMk cId="554401426" sldId="2147483803"/>
        </pc:sldMasterMkLst>
        <pc:sldLayoutChg chg="del">
          <pc:chgData name="Elsaker, Sheri" userId="03aeeb51-71af-4ec0-ba02-b4548e55d73c" providerId="ADAL" clId="{1514E898-93AE-43E9-A31B-1164B4C54D66}" dt="2022-10-25T18:31:47.766" v="2609" actId="47"/>
          <pc:sldLayoutMkLst>
            <pc:docMk/>
            <pc:sldMasterMk cId="554401426" sldId="2147483803"/>
            <pc:sldLayoutMk cId="4008790663" sldId="2147483804"/>
          </pc:sldLayoutMkLst>
        </pc:sldLayoutChg>
        <pc:sldLayoutChg chg="del">
          <pc:chgData name="Elsaker, Sheri" userId="03aeeb51-71af-4ec0-ba02-b4548e55d73c" providerId="ADAL" clId="{1514E898-93AE-43E9-A31B-1164B4C54D66}" dt="2022-10-25T18:31:47.766" v="2609" actId="47"/>
          <pc:sldLayoutMkLst>
            <pc:docMk/>
            <pc:sldMasterMk cId="554401426" sldId="2147483803"/>
            <pc:sldLayoutMk cId="3835466795" sldId="2147483805"/>
          </pc:sldLayoutMkLst>
        </pc:sldLayoutChg>
        <pc:sldLayoutChg chg="del">
          <pc:chgData name="Elsaker, Sheri" userId="03aeeb51-71af-4ec0-ba02-b4548e55d73c" providerId="ADAL" clId="{1514E898-93AE-43E9-A31B-1164B4C54D66}" dt="2022-10-25T18:31:47.766" v="2609" actId="47"/>
          <pc:sldLayoutMkLst>
            <pc:docMk/>
            <pc:sldMasterMk cId="554401426" sldId="2147483803"/>
            <pc:sldLayoutMk cId="2055914291" sldId="2147483806"/>
          </pc:sldLayoutMkLst>
        </pc:sldLayoutChg>
        <pc:sldLayoutChg chg="del">
          <pc:chgData name="Elsaker, Sheri" userId="03aeeb51-71af-4ec0-ba02-b4548e55d73c" providerId="ADAL" clId="{1514E898-93AE-43E9-A31B-1164B4C54D66}" dt="2022-10-25T18:31:47.766" v="2609" actId="47"/>
          <pc:sldLayoutMkLst>
            <pc:docMk/>
            <pc:sldMasterMk cId="554401426" sldId="2147483803"/>
            <pc:sldLayoutMk cId="970451475" sldId="2147483807"/>
          </pc:sldLayoutMkLst>
        </pc:sldLayoutChg>
        <pc:sldLayoutChg chg="del">
          <pc:chgData name="Elsaker, Sheri" userId="03aeeb51-71af-4ec0-ba02-b4548e55d73c" providerId="ADAL" clId="{1514E898-93AE-43E9-A31B-1164B4C54D66}" dt="2022-10-25T18:31:47.766" v="2609" actId="47"/>
          <pc:sldLayoutMkLst>
            <pc:docMk/>
            <pc:sldMasterMk cId="554401426" sldId="2147483803"/>
            <pc:sldLayoutMk cId="1695978183" sldId="2147483808"/>
          </pc:sldLayoutMkLst>
        </pc:sldLayoutChg>
        <pc:sldLayoutChg chg="del">
          <pc:chgData name="Elsaker, Sheri" userId="03aeeb51-71af-4ec0-ba02-b4548e55d73c" providerId="ADAL" clId="{1514E898-93AE-43E9-A31B-1164B4C54D66}" dt="2022-10-25T18:31:47.766" v="2609" actId="47"/>
          <pc:sldLayoutMkLst>
            <pc:docMk/>
            <pc:sldMasterMk cId="554401426" sldId="2147483803"/>
            <pc:sldLayoutMk cId="1470265045" sldId="2147483809"/>
          </pc:sldLayoutMkLst>
        </pc:sldLayoutChg>
      </pc:sldMasterChg>
    </pc:docChg>
  </pc:docChgLst>
  <pc:docChgLst>
    <pc:chgData name="Elsaker, Sheri" userId="S::selsaker@deloitte.com::03aeeb51-71af-4ec0-ba02-b4548e55d73c" providerId="AD" clId="Web-{86FBF41A-4D14-4DF7-A011-4E27C354BDA0}"/>
    <pc:docChg chg="modSld">
      <pc:chgData name="Elsaker, Sheri" userId="S::selsaker@deloitte.com::03aeeb51-71af-4ec0-ba02-b4548e55d73c" providerId="AD" clId="Web-{86FBF41A-4D14-4DF7-A011-4E27C354BDA0}" dt="2022-10-28T00:44:07.836" v="4" actId="20577"/>
      <pc:docMkLst>
        <pc:docMk/>
      </pc:docMkLst>
      <pc:sldChg chg="modSp">
        <pc:chgData name="Elsaker, Sheri" userId="S::selsaker@deloitte.com::03aeeb51-71af-4ec0-ba02-b4548e55d73c" providerId="AD" clId="Web-{86FBF41A-4D14-4DF7-A011-4E27C354BDA0}" dt="2022-10-28T00:44:07.836" v="4" actId="20577"/>
        <pc:sldMkLst>
          <pc:docMk/>
          <pc:sldMk cId="4092582005" sldId="1111"/>
        </pc:sldMkLst>
        <pc:spChg chg="mod">
          <ac:chgData name="Elsaker, Sheri" userId="S::selsaker@deloitte.com::03aeeb51-71af-4ec0-ba02-b4548e55d73c" providerId="AD" clId="Web-{86FBF41A-4D14-4DF7-A011-4E27C354BDA0}" dt="2022-10-28T00:43:46.726" v="1" actId="20577"/>
          <ac:spMkLst>
            <pc:docMk/>
            <pc:sldMk cId="4092582005" sldId="1111"/>
            <ac:spMk id="57" creationId="{47666E0F-CA29-684F-983B-621C31E3536E}"/>
          </ac:spMkLst>
        </pc:spChg>
        <pc:spChg chg="mod">
          <ac:chgData name="Elsaker, Sheri" userId="S::selsaker@deloitte.com::03aeeb51-71af-4ec0-ba02-b4548e55d73c" providerId="AD" clId="Web-{86FBF41A-4D14-4DF7-A011-4E27C354BDA0}" dt="2022-10-28T00:44:07.836" v="4" actId="20577"/>
          <ac:spMkLst>
            <pc:docMk/>
            <pc:sldMk cId="4092582005" sldId="1111"/>
            <ac:spMk id="58" creationId="{4CB3C754-9E33-3842-974C-E961090B698A}"/>
          </ac:spMkLst>
        </pc:spChg>
      </pc:sldChg>
    </pc:docChg>
  </pc:docChgLst>
</pc:chgInfo>
</file>

<file path=ppt/comments/modernComment_457_F3EFD875.xml><?xml version="1.0" encoding="utf-8"?>
<p188:cmLst xmlns:a="http://schemas.openxmlformats.org/drawingml/2006/main" xmlns:r="http://schemas.openxmlformats.org/officeDocument/2006/relationships" xmlns:p188="http://schemas.microsoft.com/office/powerpoint/2018/8/main">
  <p188:cm id="{30A10BAB-7327-4588-AF3A-3CF4A674C2EB}" authorId="{E715B98C-44B5-3E13-76B9-4E00F420998D}" created="2022-10-27T19:16:12.505">
    <pc:sldMkLst xmlns:pc="http://schemas.microsoft.com/office/powerpoint/2013/main/command">
      <pc:docMk/>
      <pc:sldMk cId="4092582005" sldId="1111"/>
    </pc:sldMkLst>
    <p188:txBody>
      <a:bodyPr/>
      <a:lstStyle/>
      <a:p>
        <a:r>
          <a:rPr lang="en-US"/>
          <a:t>Move to the back</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C6ADD7-4D42-49A2-9303-49F3A8DA52C6}" type="datetimeFigureOut">
              <a:rPr lang="en-US" smtClean="0"/>
              <a:t>10/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B43DD-5B4F-4351-A787-BDEFCB617978}" type="slidenum">
              <a:rPr lang="en-US" smtClean="0"/>
              <a:t>‹#›</a:t>
            </a:fld>
            <a:endParaRPr lang="en-US"/>
          </a:p>
        </p:txBody>
      </p:sp>
    </p:spTree>
    <p:extLst>
      <p:ext uri="{BB962C8B-B14F-4D97-AF65-F5344CB8AC3E}">
        <p14:creationId xmlns:p14="http://schemas.microsoft.com/office/powerpoint/2010/main" val="1622977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 </a:t>
            </a:r>
          </a:p>
        </p:txBody>
      </p:sp>
      <p:sp>
        <p:nvSpPr>
          <p:cNvPr id="4" name="Slide Number Placeholder 3"/>
          <p:cNvSpPr>
            <a:spLocks noGrp="1"/>
          </p:cNvSpPr>
          <p:nvPr>
            <p:ph type="sldNum" sz="quarter" idx="5"/>
          </p:nvPr>
        </p:nvSpPr>
        <p:spPr/>
        <p:txBody>
          <a:bodyPr/>
          <a:lstStyle/>
          <a:p>
            <a:fld id="{89DB43DD-5B4F-4351-A787-BDEFCB617978}" type="slidenum">
              <a:rPr lang="en-US" smtClean="0"/>
              <a:t>1</a:t>
            </a:fld>
            <a:endParaRPr lang="en-US"/>
          </a:p>
        </p:txBody>
      </p:sp>
    </p:spTree>
    <p:extLst>
      <p:ext uri="{BB962C8B-B14F-4D97-AF65-F5344CB8AC3E}">
        <p14:creationId xmlns:p14="http://schemas.microsoft.com/office/powerpoint/2010/main" val="2376501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Josue</a:t>
            </a:r>
          </a:p>
          <a:p>
            <a:r>
              <a:rPr lang="en-US"/>
              <a:t>Make all visuals less blurry</a:t>
            </a:r>
          </a:p>
          <a:p>
            <a:r>
              <a:rPr lang="en-US"/>
              <a:t>Joseph</a:t>
            </a:r>
          </a:p>
          <a:p>
            <a:endParaRPr lang="en-US"/>
          </a:p>
          <a:p>
            <a:r>
              <a:rPr lang="en-US"/>
              <a:t>We need to include method and visual results her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rPr>
              <a:t>Top actors with most reviews, but ordered by rating</a:t>
            </a:r>
            <a:endParaRPr lang="en-US" sz="1800">
              <a:effectLst/>
              <a:latin typeface="Calibri" panose="020F050202020403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10</a:t>
            </a:fld>
            <a:endParaRPr lang="en-US"/>
          </a:p>
        </p:txBody>
      </p:sp>
    </p:spTree>
    <p:extLst>
      <p:ext uri="{BB962C8B-B14F-4D97-AF65-F5344CB8AC3E}">
        <p14:creationId xmlns:p14="http://schemas.microsoft.com/office/powerpoint/2010/main" val="3436307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ue</a:t>
            </a:r>
          </a:p>
          <a:p>
            <a:r>
              <a:rPr lang="en-US"/>
              <a:t>Make all visuals less blurry</a:t>
            </a:r>
          </a:p>
          <a:p>
            <a:r>
              <a:rPr lang="en-US"/>
              <a:t>Joseph</a:t>
            </a:r>
          </a:p>
          <a:p>
            <a:endParaRPr lang="en-US"/>
          </a:p>
          <a:p>
            <a:r>
              <a:rPr lang="en-US"/>
              <a:t>We need to include method and visual results her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rPr>
              <a:t>Top actors with most reviews, but ordered by rating</a:t>
            </a:r>
            <a:endParaRPr lang="en-US" sz="1800">
              <a:effectLst/>
              <a:latin typeface="Calibri" panose="020F050202020403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11</a:t>
            </a:fld>
            <a:endParaRPr lang="en-US"/>
          </a:p>
        </p:txBody>
      </p:sp>
    </p:spTree>
    <p:extLst>
      <p:ext uri="{BB962C8B-B14F-4D97-AF65-F5344CB8AC3E}">
        <p14:creationId xmlns:p14="http://schemas.microsoft.com/office/powerpoint/2010/main" val="1778351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a:p>
            <a:endParaRPr lang="en-US"/>
          </a:p>
          <a:p>
            <a:r>
              <a:rPr lang="en-US"/>
              <a:t>Make all visuals less blurry</a:t>
            </a:r>
          </a:p>
          <a:p>
            <a:r>
              <a:rPr lang="en-US"/>
              <a:t>Remove legends</a:t>
            </a:r>
          </a:p>
          <a:p>
            <a:r>
              <a:rPr lang="en-US"/>
              <a:t>Sheri</a:t>
            </a:r>
          </a:p>
          <a:p>
            <a:r>
              <a:rPr lang="en-US"/>
              <a:t>We need to include method and visual results here</a:t>
            </a:r>
          </a:p>
        </p:txBody>
      </p:sp>
      <p:sp>
        <p:nvSpPr>
          <p:cNvPr id="4" name="Slide Number Placeholder 3"/>
          <p:cNvSpPr>
            <a:spLocks noGrp="1"/>
          </p:cNvSpPr>
          <p:nvPr>
            <p:ph type="sldNum" sz="quarter" idx="5"/>
          </p:nvPr>
        </p:nvSpPr>
        <p:spPr/>
        <p:txBody>
          <a:bodyPr/>
          <a:lstStyle/>
          <a:p>
            <a:fld id="{89DB43DD-5B4F-4351-A787-BDEFCB617978}" type="slidenum">
              <a:rPr lang="en-US" smtClean="0"/>
              <a:t>12</a:t>
            </a:fld>
            <a:endParaRPr lang="en-US"/>
          </a:p>
        </p:txBody>
      </p:sp>
    </p:spTree>
    <p:extLst>
      <p:ext uri="{BB962C8B-B14F-4D97-AF65-F5344CB8AC3E}">
        <p14:creationId xmlns:p14="http://schemas.microsoft.com/office/powerpoint/2010/main" val="2280661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a:p>
            <a:r>
              <a:rPr lang="en-US"/>
              <a:t>Make all visuals less blurry</a:t>
            </a:r>
          </a:p>
          <a:p>
            <a:r>
              <a:rPr lang="en-US"/>
              <a:t>Sheri</a:t>
            </a:r>
          </a:p>
          <a:p>
            <a:r>
              <a:rPr lang="en-US"/>
              <a:t>We need to include method and visual results here</a:t>
            </a:r>
          </a:p>
          <a:p>
            <a:endParaRPr lang="en-US"/>
          </a:p>
          <a:p>
            <a:r>
              <a:rPr lang="en-US"/>
              <a:t>45 is the average  and std dev 29 – top 1.2%</a:t>
            </a:r>
          </a:p>
        </p:txBody>
      </p:sp>
      <p:sp>
        <p:nvSpPr>
          <p:cNvPr id="4" name="Slide Number Placeholder 3"/>
          <p:cNvSpPr>
            <a:spLocks noGrp="1"/>
          </p:cNvSpPr>
          <p:nvPr>
            <p:ph type="sldNum" sz="quarter" idx="5"/>
          </p:nvPr>
        </p:nvSpPr>
        <p:spPr/>
        <p:txBody>
          <a:bodyPr/>
          <a:lstStyle/>
          <a:p>
            <a:fld id="{89DB43DD-5B4F-4351-A787-BDEFCB617978}" type="slidenum">
              <a:rPr lang="en-US" smtClean="0"/>
              <a:t>13</a:t>
            </a:fld>
            <a:endParaRPr lang="en-US"/>
          </a:p>
        </p:txBody>
      </p:sp>
    </p:spTree>
    <p:extLst>
      <p:ext uri="{BB962C8B-B14F-4D97-AF65-F5344CB8AC3E}">
        <p14:creationId xmlns:p14="http://schemas.microsoft.com/office/powerpoint/2010/main" val="3785775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a:p>
            <a:r>
              <a:rPr lang="en-US"/>
              <a:t>Cut down on text</a:t>
            </a:r>
          </a:p>
          <a:p>
            <a:endParaRPr lang="en-US"/>
          </a:p>
          <a:p>
            <a:r>
              <a:rPr lang="en-US"/>
              <a:t>Sheri</a:t>
            </a:r>
          </a:p>
          <a:p>
            <a:r>
              <a:rPr lang="en-US"/>
              <a:t>Ava was 8/829 of fresh</a:t>
            </a:r>
          </a:p>
        </p:txBody>
      </p:sp>
      <p:sp>
        <p:nvSpPr>
          <p:cNvPr id="4" name="Slide Number Placeholder 3"/>
          <p:cNvSpPr>
            <a:spLocks noGrp="1"/>
          </p:cNvSpPr>
          <p:nvPr>
            <p:ph type="sldNum" sz="quarter" idx="5"/>
          </p:nvPr>
        </p:nvSpPr>
        <p:spPr/>
        <p:txBody>
          <a:bodyPr/>
          <a:lstStyle/>
          <a:p>
            <a:fld id="{89DB43DD-5B4F-4351-A787-BDEFCB617978}" type="slidenum">
              <a:rPr lang="en-US" smtClean="0"/>
              <a:t>14</a:t>
            </a:fld>
            <a:endParaRPr lang="en-US"/>
          </a:p>
        </p:txBody>
      </p:sp>
    </p:spTree>
    <p:extLst>
      <p:ext uri="{BB962C8B-B14F-4D97-AF65-F5344CB8AC3E}">
        <p14:creationId xmlns:p14="http://schemas.microsoft.com/office/powerpoint/2010/main" val="2566552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p:txBody>
      </p:sp>
      <p:sp>
        <p:nvSpPr>
          <p:cNvPr id="4" name="Slide Number Placeholder 3"/>
          <p:cNvSpPr>
            <a:spLocks noGrp="1"/>
          </p:cNvSpPr>
          <p:nvPr>
            <p:ph type="sldNum" sz="quarter" idx="5"/>
          </p:nvPr>
        </p:nvSpPr>
        <p:spPr/>
        <p:txBody>
          <a:bodyPr/>
          <a:lstStyle/>
          <a:p>
            <a:fld id="{89DB43DD-5B4F-4351-A787-BDEFCB617978}" type="slidenum">
              <a:rPr lang="en-US" smtClean="0"/>
              <a:t>15</a:t>
            </a:fld>
            <a:endParaRPr lang="en-US"/>
          </a:p>
        </p:txBody>
      </p:sp>
    </p:spTree>
    <p:extLst>
      <p:ext uri="{BB962C8B-B14F-4D97-AF65-F5344CB8AC3E}">
        <p14:creationId xmlns:p14="http://schemas.microsoft.com/office/powerpoint/2010/main" val="1041969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p:txBody>
      </p:sp>
      <p:sp>
        <p:nvSpPr>
          <p:cNvPr id="4" name="Slide Number Placeholder 3"/>
          <p:cNvSpPr>
            <a:spLocks noGrp="1"/>
          </p:cNvSpPr>
          <p:nvPr>
            <p:ph type="sldNum" sz="quarter" idx="5"/>
          </p:nvPr>
        </p:nvSpPr>
        <p:spPr/>
        <p:txBody>
          <a:bodyPr/>
          <a:lstStyle/>
          <a:p>
            <a:fld id="{89DB43DD-5B4F-4351-A787-BDEFCB617978}" type="slidenum">
              <a:rPr lang="en-US" smtClean="0"/>
              <a:t>16</a:t>
            </a:fld>
            <a:endParaRPr lang="en-US"/>
          </a:p>
        </p:txBody>
      </p:sp>
    </p:spTree>
    <p:extLst>
      <p:ext uri="{BB962C8B-B14F-4D97-AF65-F5344CB8AC3E}">
        <p14:creationId xmlns:p14="http://schemas.microsoft.com/office/powerpoint/2010/main" val="10982279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a:p>
            <a:r>
              <a:rPr lang="en-US"/>
              <a:t>Cut down on text</a:t>
            </a:r>
          </a:p>
          <a:p>
            <a:endParaRPr lang="en-US"/>
          </a:p>
          <a:p>
            <a:r>
              <a:rPr lang="en-US"/>
              <a:t>Sheri</a:t>
            </a:r>
          </a:p>
          <a:p>
            <a:r>
              <a:rPr lang="en-US"/>
              <a:t>Ava was 8/829 of fresh</a:t>
            </a:r>
          </a:p>
        </p:txBody>
      </p:sp>
      <p:sp>
        <p:nvSpPr>
          <p:cNvPr id="4" name="Slide Number Placeholder 3"/>
          <p:cNvSpPr>
            <a:spLocks noGrp="1"/>
          </p:cNvSpPr>
          <p:nvPr>
            <p:ph type="sldNum" sz="quarter" idx="5"/>
          </p:nvPr>
        </p:nvSpPr>
        <p:spPr/>
        <p:txBody>
          <a:bodyPr/>
          <a:lstStyle/>
          <a:p>
            <a:fld id="{89DB43DD-5B4F-4351-A787-BDEFCB617978}" type="slidenum">
              <a:rPr lang="en-US" smtClean="0"/>
              <a:t>17</a:t>
            </a:fld>
            <a:endParaRPr lang="en-US"/>
          </a:p>
        </p:txBody>
      </p:sp>
    </p:spTree>
    <p:extLst>
      <p:ext uri="{BB962C8B-B14F-4D97-AF65-F5344CB8AC3E}">
        <p14:creationId xmlns:p14="http://schemas.microsoft.com/office/powerpoint/2010/main" val="3703822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Madelyn</a:t>
            </a:r>
          </a:p>
          <a:p>
            <a:r>
              <a:rPr lang="en-US"/>
              <a:t>Don’t explain what a hypothesis test is, just do the human interpretation</a:t>
            </a:r>
          </a:p>
          <a:p>
            <a:r>
              <a:rPr lang="en-US"/>
              <a:t>Independent variable </a:t>
            </a:r>
          </a:p>
          <a:p>
            <a:r>
              <a:rPr lang="en-US" err="1"/>
              <a:t>Dependant</a:t>
            </a:r>
            <a:r>
              <a:rPr lang="en-US"/>
              <a:t> variables</a:t>
            </a:r>
          </a:p>
          <a:p>
            <a:r>
              <a:rPr lang="en-US"/>
              <a:t>Equation </a:t>
            </a:r>
          </a:p>
          <a:p>
            <a:r>
              <a:rPr lang="en-US"/>
              <a:t>Sample</a:t>
            </a:r>
          </a:p>
          <a:p>
            <a:r>
              <a:rPr lang="en-US"/>
              <a:t>Mean</a:t>
            </a:r>
          </a:p>
          <a:p>
            <a:r>
              <a:rPr lang="en-US"/>
              <a:t>Alpha </a:t>
            </a:r>
          </a:p>
          <a:p>
            <a:r>
              <a:rPr lang="en-US"/>
              <a:t>Std dev </a:t>
            </a:r>
          </a:p>
          <a:p>
            <a:r>
              <a:rPr lang="en-US"/>
              <a:t>T test or z test </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18</a:t>
            </a:fld>
            <a:endParaRPr lang="en-US"/>
          </a:p>
        </p:txBody>
      </p:sp>
    </p:spTree>
    <p:extLst>
      <p:ext uri="{BB962C8B-B14F-4D97-AF65-F5344CB8AC3E}">
        <p14:creationId xmlns:p14="http://schemas.microsoft.com/office/powerpoint/2010/main" val="4249522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 </a:t>
            </a:r>
          </a:p>
        </p:txBody>
      </p:sp>
      <p:sp>
        <p:nvSpPr>
          <p:cNvPr id="4" name="Slide Number Placeholder 3"/>
          <p:cNvSpPr>
            <a:spLocks noGrp="1"/>
          </p:cNvSpPr>
          <p:nvPr>
            <p:ph type="sldNum" sz="quarter" idx="5"/>
          </p:nvPr>
        </p:nvSpPr>
        <p:spPr/>
        <p:txBody>
          <a:bodyPr/>
          <a:lstStyle/>
          <a:p>
            <a:fld id="{89DB43DD-5B4F-4351-A787-BDEFCB617978}" type="slidenum">
              <a:rPr lang="en-US" smtClean="0"/>
              <a:t>2</a:t>
            </a:fld>
            <a:endParaRPr lang="en-US"/>
          </a:p>
        </p:txBody>
      </p:sp>
    </p:spTree>
    <p:extLst>
      <p:ext uri="{BB962C8B-B14F-4D97-AF65-F5344CB8AC3E}">
        <p14:creationId xmlns:p14="http://schemas.microsoft.com/office/powerpoint/2010/main" val="3452995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a:t>
            </a:r>
          </a:p>
        </p:txBody>
      </p:sp>
      <p:sp>
        <p:nvSpPr>
          <p:cNvPr id="4" name="Slide Number Placeholder 3"/>
          <p:cNvSpPr>
            <a:spLocks noGrp="1"/>
          </p:cNvSpPr>
          <p:nvPr>
            <p:ph type="sldNum" sz="quarter" idx="5"/>
          </p:nvPr>
        </p:nvSpPr>
        <p:spPr/>
        <p:txBody>
          <a:bodyPr/>
          <a:lstStyle/>
          <a:p>
            <a:fld id="{89DB43DD-5B4F-4351-A787-BDEFCB617978}" type="slidenum">
              <a:rPr lang="en-US" smtClean="0"/>
              <a:t>3</a:t>
            </a:fld>
            <a:endParaRPr lang="en-US"/>
          </a:p>
        </p:txBody>
      </p:sp>
    </p:spTree>
    <p:extLst>
      <p:ext uri="{BB962C8B-B14F-4D97-AF65-F5344CB8AC3E}">
        <p14:creationId xmlns:p14="http://schemas.microsoft.com/office/powerpoint/2010/main" val="1665822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a:t>
            </a:r>
          </a:p>
          <a:p>
            <a:endParaRPr lang="en-US"/>
          </a:p>
          <a:p>
            <a:r>
              <a:rPr lang="en-US"/>
              <a:t>Highlight these are not all the steps, but this slide will help us tell our story</a:t>
            </a:r>
          </a:p>
          <a:p>
            <a:endParaRPr lang="en-US"/>
          </a:p>
          <a:p>
            <a:r>
              <a:rPr lang="en-US"/>
              <a:t>Who is our stakeholder?</a:t>
            </a:r>
          </a:p>
          <a:p>
            <a:endParaRPr lang="en-US"/>
          </a:p>
          <a:p>
            <a:pPr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Students must explain how their projects address a </a:t>
            </a:r>
            <a:r>
              <a:rPr lang="en-US" sz="1100" b="1" i="1" u="none" strike="noStrike">
                <a:solidFill>
                  <a:srgbClr val="000000"/>
                </a:solidFill>
                <a:effectLst/>
                <a:latin typeface="Arial" panose="020B0604020202020204" pitchFamily="34" charset="0"/>
              </a:rPr>
              <a:t>real-world problem</a:t>
            </a:r>
            <a:endParaRPr lang="en-US" sz="1100" b="0" i="0" u="none" strike="noStrike">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In Semester 1 Capstone, the problem basics are provided in the project description</a:t>
            </a:r>
          </a:p>
          <a:p>
            <a:pPr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A </a:t>
            </a:r>
            <a:r>
              <a:rPr lang="en-US" sz="1100" b="1" i="1" u="none" strike="noStrike">
                <a:solidFill>
                  <a:srgbClr val="000000"/>
                </a:solidFill>
                <a:effectLst/>
                <a:latin typeface="Arial" panose="020B0604020202020204" pitchFamily="34" charset="0"/>
              </a:rPr>
              <a:t>real-world problem</a:t>
            </a:r>
            <a:r>
              <a:rPr lang="en-US" sz="1100" b="0" i="0" u="none" strike="noStrike">
                <a:solidFill>
                  <a:srgbClr val="000000"/>
                </a:solidFill>
                <a:effectLst/>
                <a:latin typeface="Arial" panose="020B0604020202020204" pitchFamily="34" charset="0"/>
              </a:rPr>
              <a:t> is an actual problem faced by an actual </a:t>
            </a:r>
            <a:r>
              <a:rPr lang="en-US" sz="1100" b="1" i="1" u="none" strike="noStrike">
                <a:solidFill>
                  <a:srgbClr val="000000"/>
                </a:solidFill>
                <a:effectLst/>
                <a:latin typeface="Arial" panose="020B0604020202020204" pitchFamily="34" charset="0"/>
              </a:rPr>
              <a:t>stakeholder</a:t>
            </a:r>
            <a:r>
              <a:rPr lang="en-US" sz="1100" b="1" i="0" u="none" strike="noStrike">
                <a:solidFill>
                  <a:srgbClr val="000000"/>
                </a:solidFill>
                <a:effectLst/>
                <a:latin typeface="Arial" panose="020B0604020202020204" pitchFamily="34" charset="0"/>
              </a:rPr>
              <a:t> </a:t>
            </a:r>
            <a:endParaRPr lang="en-US" sz="1100" b="0" i="0" u="none" strike="noStrike">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A </a:t>
            </a:r>
            <a:r>
              <a:rPr lang="en-US" sz="1100" b="1" i="1" u="none" strike="noStrike">
                <a:solidFill>
                  <a:srgbClr val="000000"/>
                </a:solidFill>
                <a:effectLst/>
                <a:latin typeface="Arial" panose="020B0604020202020204" pitchFamily="34" charset="0"/>
              </a:rPr>
              <a:t>stakeholder</a:t>
            </a:r>
            <a:r>
              <a:rPr lang="en-US" sz="1100" b="1" i="0" u="none" strike="noStrike">
                <a:solidFill>
                  <a:srgbClr val="000000"/>
                </a:solidFill>
                <a:effectLst/>
                <a:latin typeface="Arial" panose="020B0604020202020204" pitchFamily="34" charset="0"/>
              </a:rPr>
              <a:t> </a:t>
            </a:r>
            <a:r>
              <a:rPr lang="en-US" sz="1100" b="0" i="0" u="none" strike="noStrike">
                <a:solidFill>
                  <a:srgbClr val="000000"/>
                </a:solidFill>
                <a:effectLst/>
                <a:latin typeface="Arial" panose="020B0604020202020204" pitchFamily="34" charset="0"/>
              </a:rPr>
              <a:t>is a specific individual, group of people, or organization</a:t>
            </a:r>
          </a:p>
          <a:p>
            <a:pPr marL="742950" lvl="1" indent="-285750"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A </a:t>
            </a:r>
            <a:r>
              <a:rPr lang="en-US" sz="1100" b="1" i="1" u="none" strike="noStrike">
                <a:solidFill>
                  <a:srgbClr val="000000"/>
                </a:solidFill>
                <a:effectLst/>
                <a:latin typeface="Arial" panose="020B0604020202020204" pitchFamily="34" charset="0"/>
              </a:rPr>
              <a:t>problem</a:t>
            </a:r>
            <a:r>
              <a:rPr lang="en-US" sz="1100" b="1" i="0" u="none" strike="noStrike">
                <a:solidFill>
                  <a:srgbClr val="000000"/>
                </a:solidFill>
                <a:effectLst/>
                <a:latin typeface="Arial" panose="020B0604020202020204" pitchFamily="34" charset="0"/>
              </a:rPr>
              <a:t> </a:t>
            </a:r>
            <a:r>
              <a:rPr lang="en-US" sz="1100" b="0" i="0" u="none" strike="noStrike">
                <a:solidFill>
                  <a:srgbClr val="000000"/>
                </a:solidFill>
                <a:effectLst/>
                <a:latin typeface="Arial" panose="020B0604020202020204" pitchFamily="34" charset="0"/>
              </a:rPr>
              <a:t>is a challenge faced by a stakeholder in pursuit of some goal</a:t>
            </a:r>
          </a:p>
          <a:p>
            <a:pPr marL="742950" lvl="1" indent="-285750" rtl="0" fontAlgn="base">
              <a:spcBef>
                <a:spcPts val="0"/>
              </a:spcBef>
              <a:spcAft>
                <a:spcPts val="0"/>
              </a:spcAft>
              <a:buFont typeface="Arial" panose="020B0604020202020204" pitchFamily="34" charset="0"/>
              <a:buChar char="•"/>
            </a:pPr>
            <a:r>
              <a:rPr lang="en-US" sz="1100" b="0" i="0" u="none" strike="noStrike">
                <a:solidFill>
                  <a:srgbClr val="000000"/>
                </a:solidFill>
                <a:effectLst/>
                <a:latin typeface="Arial" panose="020B0604020202020204" pitchFamily="34" charset="0"/>
              </a:rPr>
              <a:t>A </a:t>
            </a:r>
            <a:r>
              <a:rPr lang="en-US" sz="1100" b="1" i="1" u="none" strike="noStrike">
                <a:solidFill>
                  <a:srgbClr val="000000"/>
                </a:solidFill>
                <a:effectLst/>
                <a:latin typeface="Arial" panose="020B0604020202020204" pitchFamily="34" charset="0"/>
              </a:rPr>
              <a:t>real-world problem</a:t>
            </a:r>
            <a:r>
              <a:rPr lang="en-US" sz="1100" b="0" i="0" u="none" strike="noStrike">
                <a:solidFill>
                  <a:srgbClr val="000000"/>
                </a:solidFill>
                <a:effectLst/>
                <a:latin typeface="Arial" panose="020B0604020202020204" pitchFamily="34" charset="0"/>
              </a:rPr>
              <a:t> is one that exists in reality, i.e. students could present the project to an actual human being and they could actually find value in it.</a:t>
            </a:r>
          </a:p>
          <a:p>
            <a:endParaRPr lang="en-US"/>
          </a:p>
          <a:p>
            <a:endParaRPr lang="en-US"/>
          </a:p>
          <a:p>
            <a:r>
              <a:rPr lang="en-US" sz="1800" b="1" i="0" u="none" strike="noStrike">
                <a:solidFill>
                  <a:srgbClr val="000000"/>
                </a:solidFill>
                <a:effectLst/>
                <a:latin typeface="Arial" panose="020B0604020202020204" pitchFamily="34" charset="0"/>
              </a:rPr>
              <a:t>Presentation describes the project goals, data, methods, and results.</a:t>
            </a:r>
            <a:r>
              <a:rPr lang="en-US" sz="1800" b="0" i="0" u="none" strike="noStrike">
                <a:solidFill>
                  <a:srgbClr val="000000"/>
                </a:solidFill>
                <a:effectLst/>
                <a:latin typeface="Arial" panose="020B0604020202020204" pitchFamily="34" charset="0"/>
              </a:rPr>
              <a:t> </a:t>
            </a:r>
            <a:endParaRPr lang="en-US"/>
          </a:p>
          <a:p>
            <a:endParaRPr lang="en-US"/>
          </a:p>
          <a:p>
            <a:r>
              <a:rPr lang="en-US"/>
              <a:t>Mention how in business understanding that is also where we come up with the plan. Those questions are what set us up to have a plan</a:t>
            </a:r>
          </a:p>
        </p:txBody>
      </p:sp>
      <p:sp>
        <p:nvSpPr>
          <p:cNvPr id="4" name="Slide Number Placeholder 3"/>
          <p:cNvSpPr>
            <a:spLocks noGrp="1"/>
          </p:cNvSpPr>
          <p:nvPr>
            <p:ph type="sldNum" sz="quarter" idx="5"/>
          </p:nvPr>
        </p:nvSpPr>
        <p:spPr/>
        <p:txBody>
          <a:bodyPr/>
          <a:lstStyle/>
          <a:p>
            <a:fld id="{89DB43DD-5B4F-4351-A787-BDEFCB617978}" type="slidenum">
              <a:rPr lang="en-US" smtClean="0"/>
              <a:t>4</a:t>
            </a:fld>
            <a:endParaRPr lang="en-US"/>
          </a:p>
        </p:txBody>
      </p:sp>
    </p:spTree>
    <p:extLst>
      <p:ext uri="{BB962C8B-B14F-4D97-AF65-F5344CB8AC3E}">
        <p14:creationId xmlns:p14="http://schemas.microsoft.com/office/powerpoint/2010/main" val="3820811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a:t>
            </a:r>
          </a:p>
          <a:p>
            <a:r>
              <a:rPr lang="en-US"/>
              <a:t>Include total number of movies</a:t>
            </a:r>
          </a:p>
          <a:p>
            <a:endParaRPr lang="en-US"/>
          </a:p>
          <a:p>
            <a:r>
              <a:rPr lang="en-US"/>
              <a:t>Madelyn</a:t>
            </a:r>
          </a:p>
          <a:p>
            <a:endParaRPr lang="en-US"/>
          </a:p>
          <a:p>
            <a:r>
              <a:rPr lang="en-US"/>
              <a:t>Vanya July 5</a:t>
            </a:r>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1460954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eph</a:t>
            </a:r>
          </a:p>
          <a:p>
            <a:r>
              <a:rPr lang="en-US"/>
              <a:t>Websites: </a:t>
            </a:r>
            <a:br>
              <a:rPr lang="en-US"/>
            </a:br>
            <a:r>
              <a:rPr lang="en-US"/>
              <a:t>- Box Office Mojo </a:t>
            </a:r>
          </a:p>
          <a:p>
            <a:pPr marL="171450" indent="-171450">
              <a:buFontTx/>
              <a:buChar char="-"/>
            </a:pPr>
            <a:r>
              <a:rPr lang="en-US"/>
              <a:t>IMDB</a:t>
            </a:r>
          </a:p>
          <a:p>
            <a:pPr marL="171450" indent="-171450">
              <a:buFontTx/>
              <a:buChar char="-"/>
            </a:pPr>
            <a:r>
              <a:rPr lang="en-US"/>
              <a:t>Rotten Tomatoes</a:t>
            </a:r>
          </a:p>
          <a:p>
            <a:pPr marL="171450" indent="-171450">
              <a:buFontTx/>
              <a:buChar char="-"/>
            </a:pPr>
            <a:r>
              <a:rPr lang="en-US"/>
              <a:t>TMDB</a:t>
            </a:r>
          </a:p>
          <a:p>
            <a:pPr marL="171450" indent="-171450">
              <a:buFontTx/>
              <a:buChar char="-"/>
            </a:pPr>
            <a:r>
              <a:rPr lang="en-US"/>
              <a:t>The Numbers</a:t>
            </a:r>
          </a:p>
        </p:txBody>
      </p:sp>
      <p:sp>
        <p:nvSpPr>
          <p:cNvPr id="4" name="Slide Number Placeholder 3"/>
          <p:cNvSpPr>
            <a:spLocks noGrp="1"/>
          </p:cNvSpPr>
          <p:nvPr>
            <p:ph type="sldNum" sz="quarter" idx="5"/>
          </p:nvPr>
        </p:nvSpPr>
        <p:spPr/>
        <p:txBody>
          <a:bodyPr/>
          <a:lstStyle/>
          <a:p>
            <a:fld id="{89DB43DD-5B4F-4351-A787-BDEFCB617978}" type="slidenum">
              <a:rPr lang="en-US" smtClean="0"/>
              <a:t>6</a:t>
            </a:fld>
            <a:endParaRPr lang="en-US"/>
          </a:p>
        </p:txBody>
      </p:sp>
    </p:spTree>
    <p:extLst>
      <p:ext uri="{BB962C8B-B14F-4D97-AF65-F5344CB8AC3E}">
        <p14:creationId xmlns:p14="http://schemas.microsoft.com/office/powerpoint/2010/main" val="657222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dely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ake all visuals less blur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ake style consist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Josep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e need to include method and visual results here</a:t>
            </a:r>
          </a:p>
          <a:p>
            <a:endParaRPr lang="en-US"/>
          </a:p>
          <a:p>
            <a:endParaRPr lang="en-US"/>
          </a:p>
          <a:p>
            <a:r>
              <a:rPr lang="en-US"/>
              <a:t>This slide is showing the full range of data we started with </a:t>
            </a:r>
          </a:p>
          <a:p>
            <a:pPr marL="171450" indent="-171450">
              <a:buFontTx/>
              <a:buChar char="-"/>
            </a:pPr>
            <a:r>
              <a:rPr lang="en-US"/>
              <a:t>Our goal was to identify a segment of the movie market where we could face minimal competition </a:t>
            </a:r>
          </a:p>
          <a:p>
            <a:pPr marL="0" indent="0">
              <a:buFontTx/>
              <a:buNone/>
            </a:pPr>
            <a:r>
              <a:rPr lang="en-US"/>
              <a:t>	and have a product that is well liked by consumers </a:t>
            </a:r>
          </a:p>
          <a:p>
            <a:pPr marL="171450" indent="-171450">
              <a:buFontTx/>
              <a:buChar char="-"/>
            </a:pPr>
            <a:r>
              <a:rPr lang="en-US"/>
              <a:t>On the graph you can see that the majority of the genres have fewer than 2000 movies but only five movies have </a:t>
            </a:r>
          </a:p>
          <a:p>
            <a:pPr marL="457200" lvl="1" indent="0">
              <a:buFontTx/>
              <a:buNone/>
            </a:pPr>
            <a:r>
              <a:rPr lang="en-US"/>
              <a:t>Above a 6.5 rating </a:t>
            </a:r>
          </a:p>
          <a:p>
            <a:pPr marL="171450" indent="-171450">
              <a:buFontTx/>
              <a:buChar char="-"/>
            </a:pPr>
            <a:r>
              <a:rPr lang="en-US"/>
              <a:t>Through theses observations we were able to identify the data we wanted to focus our analysis on (lead into next slide_</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7</a:t>
            </a:fld>
            <a:endParaRPr lang="en-US"/>
          </a:p>
        </p:txBody>
      </p:sp>
    </p:spTree>
    <p:extLst>
      <p:ext uri="{BB962C8B-B14F-4D97-AF65-F5344CB8AC3E}">
        <p14:creationId xmlns:p14="http://schemas.microsoft.com/office/powerpoint/2010/main" val="25146358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dely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Make style consistent</a:t>
            </a:r>
          </a:p>
          <a:p>
            <a:r>
              <a:rPr lang="en-US"/>
              <a:t>This slide is showing the data we want to focus our analysis on </a:t>
            </a:r>
          </a:p>
          <a:p>
            <a:pPr marL="171450" indent="-171450">
              <a:buFontTx/>
              <a:buChar char="-"/>
            </a:pPr>
            <a:r>
              <a:rPr lang="en-US"/>
              <a:t>Here we are able to take a closer look at the data that fits our criteria </a:t>
            </a:r>
          </a:p>
          <a:p>
            <a:pPr marL="171450" indent="-171450">
              <a:buFontTx/>
              <a:buChar char="-"/>
            </a:pPr>
            <a:r>
              <a:rPr lang="en-US"/>
              <a:t>Our team has identified the music genre as the most lucrative movie genre to produce in since it does not face intense direct competition</a:t>
            </a:r>
          </a:p>
          <a:p>
            <a:pPr marL="457200" lvl="1" indent="0">
              <a:buFontTx/>
              <a:buNone/>
            </a:pPr>
            <a:r>
              <a:rPr lang="en-US"/>
              <a:t> and receives above average reviews</a:t>
            </a:r>
          </a:p>
          <a:p>
            <a:pPr marL="0" indent="0">
              <a:buFontTx/>
              <a:buNone/>
            </a:pPr>
            <a:r>
              <a:rPr lang="en-US"/>
              <a:t>	</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8</a:t>
            </a:fld>
            <a:endParaRPr lang="en-US"/>
          </a:p>
        </p:txBody>
      </p:sp>
    </p:spTree>
    <p:extLst>
      <p:ext uri="{BB962C8B-B14F-4D97-AF65-F5344CB8AC3E}">
        <p14:creationId xmlns:p14="http://schemas.microsoft.com/office/powerpoint/2010/main" val="941642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sue</a:t>
            </a:r>
          </a:p>
          <a:p>
            <a:r>
              <a:rPr lang="en-US"/>
              <a:t>Make all visuals less blurry</a:t>
            </a:r>
          </a:p>
          <a:p>
            <a:r>
              <a:rPr lang="en-US"/>
              <a:t>Joseph</a:t>
            </a:r>
          </a:p>
          <a:p>
            <a:endParaRPr lang="en-US"/>
          </a:p>
          <a:p>
            <a:r>
              <a:rPr lang="en-US"/>
              <a:t>We need to include method and visual results her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rPr>
              <a:t>Top actors with most reviews, but ordered by rating</a:t>
            </a:r>
            <a:endParaRPr lang="en-US" sz="1800">
              <a:effectLst/>
              <a:latin typeface="Calibri" panose="020F050202020403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89DB43DD-5B4F-4351-A787-BDEFCB617978}" type="slidenum">
              <a:rPr lang="en-US" smtClean="0"/>
              <a:t>9</a:t>
            </a:fld>
            <a:endParaRPr lang="en-US"/>
          </a:p>
        </p:txBody>
      </p:sp>
    </p:spTree>
    <p:extLst>
      <p:ext uri="{BB962C8B-B14F-4D97-AF65-F5344CB8AC3E}">
        <p14:creationId xmlns:p14="http://schemas.microsoft.com/office/powerpoint/2010/main" val="3231322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C4DD6-3A98-418D-8B76-2F432D75E8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E9B93B-EFDD-43E3-95CA-44B17A286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183073-3693-4D38-9F5F-E4889EE8B007}"/>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EBE337BB-0ABC-4456-A355-5CFDFA3DDC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035999-11EE-4E10-94A3-466FF0B36064}"/>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485660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86B71-11C5-48F0-9DC1-3EC688E895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D1066F4-97C4-4EB4-A8F5-5D0FFA99BD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AC7C4-E75B-46BD-8E0E-D0BEDFFA7C1C}"/>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82D42798-83D4-4338-B4FE-A6DB8A444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391EDA-F75D-4BDD-847A-6D5023D64D44}"/>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398528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24DF17-6AE9-4F36-B622-D2FE360F15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8657BB-6F99-481C-84BD-B034C36029A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F2A232-E62C-4F3A-99A9-EFD347208F4E}"/>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45B5098D-57E4-4A30-B3B0-80FF77C56E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5C852F-8DC1-435C-80A2-82E906068F70}"/>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237789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56036682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14499876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7061115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548622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904632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42138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838655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538784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CA960-BE16-4A1C-BECE-E1DC9DD768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BCC536-D8EE-46E2-8A5B-32BBFA7BA7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62DC1F-AA42-4E3B-BB26-F3F7498FEF57}"/>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02976A5C-2F1D-49BC-AD1E-6E2EC22E59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948B20-78AA-4014-98A7-0EB9B7FD4F68}"/>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9927679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895638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826877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705325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078722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509343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429937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806433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92617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68527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3735326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9738D-CD32-4433-95D3-18A5D189E82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3AC8532-D381-413E-9F74-00A1B8C947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9749E8-8A19-49F0-86A6-924FA613DD8A}"/>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8CF896E1-95BE-407E-9892-2049ADA0EE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22D0C4-02E0-4FBB-A333-E79F406B095C}"/>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25050447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1823383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1582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766361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72301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322995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2828111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74796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364718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11352337"/>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7521565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F306A-7D2C-4604-BB2D-C7B3AE70AB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18D9B5-06E8-4F2D-9C68-58E5BA2D12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565AA5-2268-485A-8F62-ED46191A05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AB4059-D70A-4C65-98A7-2DD3D00F0DCB}"/>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6" name="Footer Placeholder 5">
            <a:extLst>
              <a:ext uri="{FF2B5EF4-FFF2-40B4-BE49-F238E27FC236}">
                <a16:creationId xmlns:a16="http://schemas.microsoft.com/office/drawing/2014/main" id="{0D78F2DD-622C-45C8-8F70-2A99967633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965CFA-C45A-4B9E-A154-706774244FE6}"/>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9393152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03423821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72713633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000769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74067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331707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968933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0449860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387129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210391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326078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1856F-77E8-45D8-A64D-65AEC6FC90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5E4026-F53F-48FE-825E-A94E71AEAB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43CAD8-A2A4-4907-B692-C40D3DF451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E03A6FC-B0FD-47A8-886D-1DE807B4DC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C7DB20-5DF4-42C1-B84F-867AFAD58B7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79B68-A24E-41BE-A30F-783C2003C4DF}"/>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8" name="Footer Placeholder 7">
            <a:extLst>
              <a:ext uri="{FF2B5EF4-FFF2-40B4-BE49-F238E27FC236}">
                <a16:creationId xmlns:a16="http://schemas.microsoft.com/office/drawing/2014/main" id="{D517A6B3-A6A8-47BF-8B92-2A4D5F73E37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FBA1BCA-D702-4BE0-BC7E-0DDD3C4936DC}"/>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237062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52660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2903683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075975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77154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52849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37312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71947264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9542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930869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07334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4FFD2-FFB1-42FA-B612-65742BB5E1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77D4552-1702-4C8E-9DA8-A1E4E07FDFAE}"/>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4" name="Footer Placeholder 3">
            <a:extLst>
              <a:ext uri="{FF2B5EF4-FFF2-40B4-BE49-F238E27FC236}">
                <a16:creationId xmlns:a16="http://schemas.microsoft.com/office/drawing/2014/main" id="{4E58123B-368F-4EC4-9986-EEF10E0A6A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6288034-E62D-4827-9AD1-00C10731650A}"/>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1294030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421534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87130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46563349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618951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217544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04283624"/>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5071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8359126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44481186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741403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AF9700-A783-4EE9-A8A3-A9B18195E40C}"/>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3" name="Footer Placeholder 2">
            <a:extLst>
              <a:ext uri="{FF2B5EF4-FFF2-40B4-BE49-F238E27FC236}">
                <a16:creationId xmlns:a16="http://schemas.microsoft.com/office/drawing/2014/main" id="{79918B82-817B-4375-B61F-10F5A34B1D8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DA621B-579A-42D3-8871-181E87A80FCE}"/>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8587558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898094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36954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487143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74566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968511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0200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360315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0515458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126810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870235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D631-19AC-4D15-8DF2-5109C19233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0D1A63-9432-48E6-95D0-0938148172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81FF9C-ED40-4F85-ABB9-B8F16B873B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47749-AD8C-4395-9089-39BB1A7E856E}"/>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6" name="Footer Placeholder 5">
            <a:extLst>
              <a:ext uri="{FF2B5EF4-FFF2-40B4-BE49-F238E27FC236}">
                <a16:creationId xmlns:a16="http://schemas.microsoft.com/office/drawing/2014/main" id="{443DA013-D8F1-45A4-ADA4-59F815FE55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08199A-20CE-4331-9E78-6164A3352988}"/>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41904063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507492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312502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78154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454994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44854203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2552234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76257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596818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2163861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4210181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A41BD-01B7-432C-A20E-012AAA154E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EE3F81-74DB-4B87-A398-8726D3AF95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69D60CB-F893-4892-BB10-92427B48AE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85BC49-2E25-4CEB-A3F1-818E1869A73D}"/>
              </a:ext>
            </a:extLst>
          </p:cNvPr>
          <p:cNvSpPr>
            <a:spLocks noGrp="1"/>
          </p:cNvSpPr>
          <p:nvPr>
            <p:ph type="dt" sz="half" idx="10"/>
          </p:nvPr>
        </p:nvSpPr>
        <p:spPr/>
        <p:txBody>
          <a:bodyPr/>
          <a:lstStyle/>
          <a:p>
            <a:fld id="{7B93DFD4-062E-469D-BD26-66E6AC2C80A5}" type="datetimeFigureOut">
              <a:rPr lang="en-US" smtClean="0"/>
              <a:t>10/28/2022</a:t>
            </a:fld>
            <a:endParaRPr lang="en-US"/>
          </a:p>
        </p:txBody>
      </p:sp>
      <p:sp>
        <p:nvSpPr>
          <p:cNvPr id="6" name="Footer Placeholder 5">
            <a:extLst>
              <a:ext uri="{FF2B5EF4-FFF2-40B4-BE49-F238E27FC236}">
                <a16:creationId xmlns:a16="http://schemas.microsoft.com/office/drawing/2014/main" id="{36DC024E-77F6-416B-868A-03A7EA6E5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2A93D6-8EEB-426F-AD3B-8DE37D2705AB}"/>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7098612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6429759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2120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687182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5095305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ags" Target="../tags/tag2.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vmlDrawing" Target="../drawings/vmlDrawing2.vml"/><Relationship Id="rId8"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vmlDrawing" Target="../drawings/vmlDrawing3.v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image" Target="../media/image1.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oleObject" Target="../embeddings/oleObject2.bin"/><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0F28ED-7D5B-4D21-B71B-455346715A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FD07F68-5F92-4223-AFC8-6174954C35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377D83-6912-4F54-A0D0-4E41566650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93DFD4-062E-469D-BD26-66E6AC2C80A5}" type="datetimeFigureOut">
              <a:rPr lang="en-US" smtClean="0"/>
              <a:t>10/28/2022</a:t>
            </a:fld>
            <a:endParaRPr lang="en-US"/>
          </a:p>
        </p:txBody>
      </p:sp>
      <p:sp>
        <p:nvSpPr>
          <p:cNvPr id="5" name="Footer Placeholder 4">
            <a:extLst>
              <a:ext uri="{FF2B5EF4-FFF2-40B4-BE49-F238E27FC236}">
                <a16:creationId xmlns:a16="http://schemas.microsoft.com/office/drawing/2014/main" id="{AC3CE739-C2AF-4F86-B9F5-3B62C8D393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33110B-4FA6-4326-8A7A-97A8FCACD2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1D2C7A-96EB-4000-9C71-408590E53597}" type="slidenum">
              <a:rPr lang="en-US" smtClean="0"/>
              <a:t>‹#›</a:t>
            </a:fld>
            <a:endParaRPr lang="en-US"/>
          </a:p>
        </p:txBody>
      </p:sp>
    </p:spTree>
    <p:extLst>
      <p:ext uri="{BB962C8B-B14F-4D97-AF65-F5344CB8AC3E}">
        <p14:creationId xmlns:p14="http://schemas.microsoft.com/office/powerpoint/2010/main" val="2354814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3730014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3"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208343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ext uri="{D42A27DB-BD31-4B8C-83A1-F6EECF244321}">
                <p14:modId xmlns:p14="http://schemas.microsoft.com/office/powerpoint/2010/main" val="5179751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985"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342880"/>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802" r:id="rId2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1100020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681"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201296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457_F3EFD875.xml"/><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501651" y="5186207"/>
            <a:ext cx="5950520" cy="895983"/>
          </a:xfrm>
        </p:spPr>
        <p:txBody>
          <a:bodyPr/>
          <a:lstStyle/>
          <a:p>
            <a:br>
              <a:rPr lang="en-US"/>
            </a:br>
            <a:r>
              <a:rPr lang="en-US" sz="2800"/>
              <a:t>Studio Pod Analytics </a:t>
            </a:r>
            <a:br>
              <a:rPr lang="en-US" sz="2800"/>
            </a:br>
            <a:r>
              <a:rPr lang="en-US" sz="2800"/>
              <a:t>Computing Vision: Film Type Discovery </a:t>
            </a:r>
          </a:p>
        </p:txBody>
      </p:sp>
      <p:pic>
        <p:nvPicPr>
          <p:cNvPr id="11" name="Picture 10">
            <a:extLst>
              <a:ext uri="{FF2B5EF4-FFF2-40B4-BE49-F238E27FC236}">
                <a16:creationId xmlns:a16="http://schemas.microsoft.com/office/drawing/2014/main" id="{2CC73BD3-CEF3-4392-A9E1-1E6D3419AF4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
        <p:nvSpPr>
          <p:cNvPr id="15" name="Flowchart: Connector 14">
            <a:extLst>
              <a:ext uri="{FF2B5EF4-FFF2-40B4-BE49-F238E27FC236}">
                <a16:creationId xmlns:a16="http://schemas.microsoft.com/office/drawing/2014/main" id="{C550D3E1-8C89-4134-B4E4-3D6E4F3DD87B}"/>
              </a:ext>
            </a:extLst>
          </p:cNvPr>
          <p:cNvSpPr/>
          <p:nvPr/>
        </p:nvSpPr>
        <p:spPr bwMode="gray">
          <a:xfrm>
            <a:off x="4031236" y="1280160"/>
            <a:ext cx="4124960" cy="4104640"/>
          </a:xfrm>
          <a:prstGeom prst="flowChartConnector">
            <a:avLst/>
          </a:prstGeom>
          <a:blipFill dpi="0" rotWithShape="1">
            <a:blip r:embed="rId4">
              <a:extLst>
                <a:ext uri="{28A0092B-C50C-407E-A947-70E740481C1C}">
                  <a14:useLocalDpi xmlns:a14="http://schemas.microsoft.com/office/drawing/2010/main" val="0"/>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0412236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Top 10 most popular actors with most reviews ordered by rating in descending order from 2015 onwards </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2 - Cast</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pic>
        <p:nvPicPr>
          <p:cNvPr id="3" name="Picture 2" descr="Chart, bar chart&#10;&#10;Description automatically generated">
            <a:extLst>
              <a:ext uri="{FF2B5EF4-FFF2-40B4-BE49-F238E27FC236}">
                <a16:creationId xmlns:a16="http://schemas.microsoft.com/office/drawing/2014/main" id="{9D419411-B366-4FCB-ABD9-EE74B92E7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2037" y="985699"/>
            <a:ext cx="8487926" cy="5518155"/>
          </a:xfrm>
          <a:prstGeom prst="rect">
            <a:avLst/>
          </a:prstGeom>
        </p:spPr>
      </p:pic>
      <p:sp>
        <p:nvSpPr>
          <p:cNvPr id="4" name="TextBox 3">
            <a:extLst>
              <a:ext uri="{FF2B5EF4-FFF2-40B4-BE49-F238E27FC236}">
                <a16:creationId xmlns:a16="http://schemas.microsoft.com/office/drawing/2014/main" id="{65B1612D-82FB-424F-A873-9D3C97FBFC25}"/>
              </a:ext>
            </a:extLst>
          </p:cNvPr>
          <p:cNvSpPr txBox="1"/>
          <p:nvPr/>
        </p:nvSpPr>
        <p:spPr>
          <a:xfrm>
            <a:off x="5235547" y="981244"/>
            <a:ext cx="4499171" cy="338554"/>
          </a:xfrm>
          <a:prstGeom prst="rect">
            <a:avLst/>
          </a:prstGeom>
          <a:solidFill>
            <a:schemeClr val="bg1"/>
          </a:solidFill>
        </p:spPr>
        <p:txBody>
          <a:bodyPr wrap="square" rtlCol="0">
            <a:spAutoFit/>
          </a:bodyPr>
          <a:lstStyle/>
          <a:p>
            <a:r>
              <a:rPr lang="en-US" sz="1600"/>
              <a:t>The Top 10 Most Popular Movie Actors</a:t>
            </a:r>
          </a:p>
        </p:txBody>
      </p:sp>
    </p:spTree>
    <p:extLst>
      <p:ext uri="{BB962C8B-B14F-4D97-AF65-F5344CB8AC3E}">
        <p14:creationId xmlns:p14="http://schemas.microsoft.com/office/powerpoint/2010/main" val="610726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Top 10 most popular actresses with most reviews ordered by rating in descending order from 2015 onwards </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2 - Cast</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pic>
        <p:nvPicPr>
          <p:cNvPr id="3" name="Picture 2" descr="Chart, bar chart&#10;&#10;Description automatically generated">
            <a:extLst>
              <a:ext uri="{FF2B5EF4-FFF2-40B4-BE49-F238E27FC236}">
                <a16:creationId xmlns:a16="http://schemas.microsoft.com/office/drawing/2014/main" id="{D5F26685-03E3-4C46-A88E-C33270681F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9610" y="1016040"/>
            <a:ext cx="8532779" cy="5524460"/>
          </a:xfrm>
          <a:prstGeom prst="rect">
            <a:avLst/>
          </a:prstGeom>
        </p:spPr>
      </p:pic>
      <p:sp>
        <p:nvSpPr>
          <p:cNvPr id="7" name="TextBox 6">
            <a:extLst>
              <a:ext uri="{FF2B5EF4-FFF2-40B4-BE49-F238E27FC236}">
                <a16:creationId xmlns:a16="http://schemas.microsoft.com/office/drawing/2014/main" id="{F0B16CAE-6D6C-4CF7-80C0-21813DC663D8}"/>
              </a:ext>
            </a:extLst>
          </p:cNvPr>
          <p:cNvSpPr txBox="1"/>
          <p:nvPr/>
        </p:nvSpPr>
        <p:spPr>
          <a:xfrm>
            <a:off x="5130351" y="982143"/>
            <a:ext cx="4499171" cy="338554"/>
          </a:xfrm>
          <a:prstGeom prst="rect">
            <a:avLst/>
          </a:prstGeom>
          <a:solidFill>
            <a:schemeClr val="bg1"/>
          </a:solidFill>
        </p:spPr>
        <p:txBody>
          <a:bodyPr wrap="square" rtlCol="0">
            <a:spAutoFit/>
          </a:bodyPr>
          <a:lstStyle/>
          <a:p>
            <a:r>
              <a:rPr lang="en-US" sz="1600"/>
              <a:t>The Top 10 Most Popular Movie Actresses</a:t>
            </a:r>
          </a:p>
        </p:txBody>
      </p:sp>
    </p:spTree>
    <p:extLst>
      <p:ext uri="{BB962C8B-B14F-4D97-AF65-F5344CB8AC3E}">
        <p14:creationId xmlns:p14="http://schemas.microsoft.com/office/powerpoint/2010/main" val="1335653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The bar plot below shows the directors verses their ratio of rotten reviews to rotten reviews</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atin typeface="Calibri"/>
              </a:rPr>
              <a:t>Ava has the highest ratio with means she is most balanced and highly regarded positively</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3 - Directors</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sp>
        <p:nvSpPr>
          <p:cNvPr id="10" name="Rectangle 9">
            <a:extLst>
              <a:ext uri="{FF2B5EF4-FFF2-40B4-BE49-F238E27FC236}">
                <a16:creationId xmlns:a16="http://schemas.microsoft.com/office/drawing/2014/main" id="{113345B7-A643-4D54-9B65-F8E6FEB42226}"/>
              </a:ext>
            </a:extLst>
          </p:cNvPr>
          <p:cNvSpPr/>
          <p:nvPr/>
        </p:nvSpPr>
        <p:spPr>
          <a:xfrm>
            <a:off x="3310024" y="4632159"/>
            <a:ext cx="577516" cy="1684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Chart, histogram&#10;&#10;Description automatically generated">
            <a:extLst>
              <a:ext uri="{FF2B5EF4-FFF2-40B4-BE49-F238E27FC236}">
                <a16:creationId xmlns:a16="http://schemas.microsoft.com/office/drawing/2014/main" id="{622056C4-8F5A-49C3-B68D-80436D8FA1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7502" y="1272372"/>
            <a:ext cx="5736995" cy="5268128"/>
          </a:xfrm>
          <a:prstGeom prst="rect">
            <a:avLst/>
          </a:prstGeom>
        </p:spPr>
      </p:pic>
      <p:sp>
        <p:nvSpPr>
          <p:cNvPr id="7" name="TextBox 6">
            <a:extLst>
              <a:ext uri="{FF2B5EF4-FFF2-40B4-BE49-F238E27FC236}">
                <a16:creationId xmlns:a16="http://schemas.microsoft.com/office/drawing/2014/main" id="{944BF13D-9331-4D86-83D1-F4A8128CCB37}"/>
              </a:ext>
            </a:extLst>
          </p:cNvPr>
          <p:cNvSpPr txBox="1"/>
          <p:nvPr/>
        </p:nvSpPr>
        <p:spPr>
          <a:xfrm>
            <a:off x="7185727" y="1653677"/>
            <a:ext cx="1618407" cy="369332"/>
          </a:xfrm>
          <a:prstGeom prst="rect">
            <a:avLst/>
          </a:prstGeom>
          <a:solidFill>
            <a:schemeClr val="bg1"/>
          </a:solidFill>
        </p:spPr>
        <p:txBody>
          <a:bodyPr wrap="square" rtlCol="0">
            <a:spAutoFit/>
          </a:bodyPr>
          <a:lstStyle/>
          <a:p>
            <a:endParaRPr lang="en-US"/>
          </a:p>
        </p:txBody>
      </p:sp>
    </p:spTree>
    <p:extLst>
      <p:ext uri="{BB962C8B-B14F-4D97-AF65-F5344CB8AC3E}">
        <p14:creationId xmlns:p14="http://schemas.microsoft.com/office/powerpoint/2010/main" val="605905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Ava Duvernay is the director we recommend due to her favorable reviews and ratings</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3 - Directors</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sp>
        <p:nvSpPr>
          <p:cNvPr id="9" name="TextBox 8">
            <a:extLst>
              <a:ext uri="{FF2B5EF4-FFF2-40B4-BE49-F238E27FC236}">
                <a16:creationId xmlns:a16="http://schemas.microsoft.com/office/drawing/2014/main" id="{F06D3CA6-2FE0-4B26-A5D0-F6F8BF96EC0D}"/>
              </a:ext>
            </a:extLst>
          </p:cNvPr>
          <p:cNvSpPr txBox="1"/>
          <p:nvPr/>
        </p:nvSpPr>
        <p:spPr>
          <a:xfrm>
            <a:off x="9615686" y="3922215"/>
            <a:ext cx="1685321" cy="369332"/>
          </a:xfrm>
          <a:prstGeom prst="rect">
            <a:avLst/>
          </a:prstGeom>
          <a:noFill/>
        </p:spPr>
        <p:txBody>
          <a:bodyPr wrap="square">
            <a:spAutoFit/>
          </a:bodyPr>
          <a:lstStyle/>
          <a:p>
            <a:pPr>
              <a:buSzPct val="100000"/>
            </a:pPr>
            <a:r>
              <a:rPr lang="en-US" altLang="en-US" sz="1800" b="1">
                <a:solidFill>
                  <a:srgbClr val="FF0000"/>
                </a:solidFill>
                <a:cs typeface="Segoe UI" panose="020B0502040204020203" pitchFamily="34" charset="0"/>
              </a:rPr>
              <a:t>Ava DuVernay</a:t>
            </a:r>
          </a:p>
        </p:txBody>
      </p:sp>
      <p:sp>
        <p:nvSpPr>
          <p:cNvPr id="10" name="Rectangle 9">
            <a:extLst>
              <a:ext uri="{FF2B5EF4-FFF2-40B4-BE49-F238E27FC236}">
                <a16:creationId xmlns:a16="http://schemas.microsoft.com/office/drawing/2014/main" id="{113345B7-A643-4D54-9B65-F8E6FEB42226}"/>
              </a:ext>
            </a:extLst>
          </p:cNvPr>
          <p:cNvSpPr/>
          <p:nvPr/>
        </p:nvSpPr>
        <p:spPr>
          <a:xfrm>
            <a:off x="3310024" y="4632159"/>
            <a:ext cx="577516" cy="1684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BFD705-D6F1-4F94-9EC2-D8A2FA351686}"/>
              </a:ext>
            </a:extLst>
          </p:cNvPr>
          <p:cNvSpPr/>
          <p:nvPr/>
        </p:nvSpPr>
        <p:spPr>
          <a:xfrm>
            <a:off x="5683250" y="5810252"/>
            <a:ext cx="1164167" cy="2883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Chart, box and whisker chart&#10;&#10;Description automatically generated">
            <a:extLst>
              <a:ext uri="{FF2B5EF4-FFF2-40B4-BE49-F238E27FC236}">
                <a16:creationId xmlns:a16="http://schemas.microsoft.com/office/drawing/2014/main" id="{89AA6EAB-7D86-4D91-80BB-A864045845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7855" y="1377277"/>
            <a:ext cx="7319828" cy="5226030"/>
          </a:xfrm>
          <a:prstGeom prst="rect">
            <a:avLst/>
          </a:prstGeom>
        </p:spPr>
      </p:pic>
      <p:cxnSp>
        <p:nvCxnSpPr>
          <p:cNvPr id="5" name="Straight Arrow Connector 4">
            <a:extLst>
              <a:ext uri="{FF2B5EF4-FFF2-40B4-BE49-F238E27FC236}">
                <a16:creationId xmlns:a16="http://schemas.microsoft.com/office/drawing/2014/main" id="{76C5A827-54F0-4729-9262-C073F734BDFF}"/>
              </a:ext>
            </a:extLst>
          </p:cNvPr>
          <p:cNvCxnSpPr/>
          <p:nvPr/>
        </p:nvCxnSpPr>
        <p:spPr>
          <a:xfrm flipH="1">
            <a:off x="7077449" y="4106881"/>
            <a:ext cx="2353734"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B755B06A-DD70-4993-AB85-347559D4BB8E}"/>
              </a:ext>
            </a:extLst>
          </p:cNvPr>
          <p:cNvSpPr/>
          <p:nvPr/>
        </p:nvSpPr>
        <p:spPr>
          <a:xfrm>
            <a:off x="5516093" y="4078471"/>
            <a:ext cx="140262" cy="122910"/>
          </a:xfrm>
          <a:prstGeom prst="ellipse">
            <a:avLst/>
          </a:prstGeom>
          <a:solidFill>
            <a:srgbClr val="FF00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27373A2-417A-4848-93FD-D3F3BA5E279E}"/>
              </a:ext>
            </a:extLst>
          </p:cNvPr>
          <p:cNvSpPr txBox="1"/>
          <p:nvPr/>
        </p:nvSpPr>
        <p:spPr>
          <a:xfrm>
            <a:off x="4812180" y="5954444"/>
            <a:ext cx="1688350" cy="288385"/>
          </a:xfrm>
          <a:prstGeom prst="rect">
            <a:avLst/>
          </a:prstGeom>
          <a:solidFill>
            <a:schemeClr val="bg1"/>
          </a:solidFill>
        </p:spPr>
        <p:txBody>
          <a:bodyPr wrap="square" rtlCol="0">
            <a:spAutoFit/>
          </a:bodyPr>
          <a:lstStyle/>
          <a:p>
            <a:endParaRPr lang="en-US"/>
          </a:p>
        </p:txBody>
      </p:sp>
    </p:spTree>
    <p:extLst>
      <p:ext uri="{BB962C8B-B14F-4D97-AF65-F5344CB8AC3E}">
        <p14:creationId xmlns:p14="http://schemas.microsoft.com/office/powerpoint/2010/main" val="244629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4673061-0DCC-FF44-BC15-36499893F6A3}"/>
              </a:ext>
            </a:extLst>
          </p:cNvPr>
          <p:cNvSpPr/>
          <p:nvPr/>
        </p:nvSpPr>
        <p:spPr>
          <a:xfrm>
            <a:off x="1472359" y="2109524"/>
            <a:ext cx="2624779" cy="276999"/>
          </a:xfrm>
          <a:prstGeom prst="rect">
            <a:avLst/>
          </a:prstGeom>
        </p:spPr>
        <p:txBody>
          <a:bodyPr wrap="square" lIns="0" tIns="0" rIns="0" bIns="0">
            <a:spAutoFit/>
          </a:bodyPr>
          <a:lstStyle/>
          <a:p>
            <a:r>
              <a:rPr lang="en-US" b="1">
                <a:solidFill>
                  <a:srgbClr val="000000"/>
                </a:solidFill>
              </a:rPr>
              <a:t>Genre Recommendation</a:t>
            </a:r>
          </a:p>
        </p:txBody>
      </p:sp>
      <p:sp>
        <p:nvSpPr>
          <p:cNvPr id="59" name="TextBox 58">
            <a:extLst>
              <a:ext uri="{FF2B5EF4-FFF2-40B4-BE49-F238E27FC236}">
                <a16:creationId xmlns:a16="http://schemas.microsoft.com/office/drawing/2014/main" id="{45623FCC-20B3-8A49-81D9-8CFFBCC3285E}"/>
              </a:ext>
            </a:extLst>
          </p:cNvPr>
          <p:cNvSpPr txBox="1"/>
          <p:nvPr/>
        </p:nvSpPr>
        <p:spPr>
          <a:xfrm>
            <a:off x="1215913" y="3147650"/>
            <a:ext cx="2923913" cy="1107996"/>
          </a:xfrm>
          <a:prstGeom prst="rect">
            <a:avLst/>
          </a:prstGeom>
          <a:noFill/>
        </p:spPr>
        <p:txBody>
          <a:bodyPr wrap="square" lIns="0" tIns="0" rIns="0" bIns="0" rtlCol="0" anchor="t">
            <a:spAutoFit/>
          </a:bodyPr>
          <a:lstStyle/>
          <a:p>
            <a:pPr algn="ctr">
              <a:buSzPct val="100000"/>
            </a:pPr>
            <a:r>
              <a:rPr lang="en-US" altLang="en-US" sz="2400" b="1">
                <a:solidFill>
                  <a:srgbClr val="225815"/>
                </a:solidFill>
                <a:cs typeface="Segoe UI"/>
              </a:rPr>
              <a:t>Create a movie that falls into the music genre</a:t>
            </a:r>
          </a:p>
        </p:txBody>
      </p:sp>
      <p:sp>
        <p:nvSpPr>
          <p:cNvPr id="60" name="Freeform 59">
            <a:extLst>
              <a:ext uri="{FF2B5EF4-FFF2-40B4-BE49-F238E27FC236}">
                <a16:creationId xmlns:a16="http://schemas.microsoft.com/office/drawing/2014/main" id="{A1C407FC-F4C0-B945-B923-2B7D11AF6D5A}"/>
              </a:ext>
            </a:extLst>
          </p:cNvPr>
          <p:cNvSpPr>
            <a:spLocks/>
          </p:cNvSpPr>
          <p:nvPr/>
        </p:nvSpPr>
        <p:spPr bwMode="auto">
          <a:xfrm rot="20334630" flipH="1">
            <a:off x="156295" y="1355300"/>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2" name="TextBox 61">
            <a:extLst>
              <a:ext uri="{FF2B5EF4-FFF2-40B4-BE49-F238E27FC236}">
                <a16:creationId xmlns:a16="http://schemas.microsoft.com/office/drawing/2014/main" id="{C0B56480-D87C-8145-A3FA-F4A59E0F7A79}"/>
              </a:ext>
            </a:extLst>
          </p:cNvPr>
          <p:cNvSpPr txBox="1"/>
          <p:nvPr/>
        </p:nvSpPr>
        <p:spPr>
          <a:xfrm>
            <a:off x="1571489" y="1151588"/>
            <a:ext cx="385737" cy="688256"/>
          </a:xfrm>
          <a:prstGeom prst="rect">
            <a:avLst/>
          </a:prstGeom>
          <a:noFill/>
        </p:spPr>
        <p:txBody>
          <a:bodyPr wrap="square" lIns="36000" tIns="36000" rIns="36000" bIns="36000" rtlCol="0" anchor="ctr">
            <a:spAutoFit/>
          </a:bodyPr>
          <a:lstStyle/>
          <a:p>
            <a:r>
              <a:rPr lang="en-US" sz="4000" b="1">
                <a:solidFill>
                  <a:schemeClr val="bg1"/>
                </a:solidFill>
              </a:rPr>
              <a:t>1</a:t>
            </a:r>
          </a:p>
        </p:txBody>
      </p:sp>
      <p:sp>
        <p:nvSpPr>
          <p:cNvPr id="63" name="Freeform 62">
            <a:extLst>
              <a:ext uri="{FF2B5EF4-FFF2-40B4-BE49-F238E27FC236}">
                <a16:creationId xmlns:a16="http://schemas.microsoft.com/office/drawing/2014/main" id="{50BE4C6A-4A6E-9644-8765-2C5D9F52F1F7}"/>
              </a:ext>
            </a:extLst>
          </p:cNvPr>
          <p:cNvSpPr>
            <a:spLocks/>
          </p:cNvSpPr>
          <p:nvPr/>
        </p:nvSpPr>
        <p:spPr bwMode="auto">
          <a:xfrm rot="20334630" flipH="1">
            <a:off x="4036631" y="1345775"/>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86BC25"/>
          </a:solidFill>
          <a:ln w="0">
            <a:solidFill>
              <a:srgbClr val="86BC25"/>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4" name="TextBox 63">
            <a:extLst>
              <a:ext uri="{FF2B5EF4-FFF2-40B4-BE49-F238E27FC236}">
                <a16:creationId xmlns:a16="http://schemas.microsoft.com/office/drawing/2014/main" id="{73B83227-D744-CF41-8638-2A464A63D870}"/>
              </a:ext>
            </a:extLst>
          </p:cNvPr>
          <p:cNvSpPr txBox="1"/>
          <p:nvPr/>
        </p:nvSpPr>
        <p:spPr>
          <a:xfrm>
            <a:off x="5451825" y="1142063"/>
            <a:ext cx="385737" cy="688256"/>
          </a:xfrm>
          <a:prstGeom prst="rect">
            <a:avLst/>
          </a:prstGeom>
          <a:noFill/>
        </p:spPr>
        <p:txBody>
          <a:bodyPr wrap="square" lIns="36000" tIns="36000" rIns="36000" bIns="36000" rtlCol="0" anchor="ctr">
            <a:spAutoFit/>
          </a:bodyPr>
          <a:lstStyle/>
          <a:p>
            <a:r>
              <a:rPr lang="en-US" sz="4000" b="1">
                <a:solidFill>
                  <a:schemeClr val="bg1"/>
                </a:solidFill>
              </a:rPr>
              <a:t>2</a:t>
            </a:r>
          </a:p>
        </p:txBody>
      </p:sp>
      <p:sp>
        <p:nvSpPr>
          <p:cNvPr id="66" name="Freeform 65">
            <a:extLst>
              <a:ext uri="{FF2B5EF4-FFF2-40B4-BE49-F238E27FC236}">
                <a16:creationId xmlns:a16="http://schemas.microsoft.com/office/drawing/2014/main" id="{A9ABCEEE-3266-C441-9FEB-35E4FAA9575F}"/>
              </a:ext>
            </a:extLst>
          </p:cNvPr>
          <p:cNvSpPr>
            <a:spLocks/>
          </p:cNvSpPr>
          <p:nvPr/>
        </p:nvSpPr>
        <p:spPr bwMode="auto">
          <a:xfrm rot="20334630" flipH="1">
            <a:off x="7895669" y="1364826"/>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225815"/>
          </a:solidFill>
          <a:ln w="0">
            <a:solidFill>
              <a:srgbClr val="225815"/>
            </a:solid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TextBox 66">
            <a:extLst>
              <a:ext uri="{FF2B5EF4-FFF2-40B4-BE49-F238E27FC236}">
                <a16:creationId xmlns:a16="http://schemas.microsoft.com/office/drawing/2014/main" id="{1C4F0F43-3620-1B44-9B3D-BBBC42BAF3C9}"/>
              </a:ext>
            </a:extLst>
          </p:cNvPr>
          <p:cNvSpPr txBox="1"/>
          <p:nvPr/>
        </p:nvSpPr>
        <p:spPr>
          <a:xfrm>
            <a:off x="9310863" y="1161114"/>
            <a:ext cx="385737" cy="688256"/>
          </a:xfrm>
          <a:prstGeom prst="rect">
            <a:avLst/>
          </a:prstGeom>
          <a:noFill/>
        </p:spPr>
        <p:txBody>
          <a:bodyPr wrap="square" lIns="36000" tIns="36000" rIns="36000" bIns="36000" rtlCol="0" anchor="ctr">
            <a:spAutoFit/>
          </a:bodyPr>
          <a:lstStyle/>
          <a:p>
            <a:r>
              <a:rPr lang="en-US" sz="4000" b="1">
                <a:solidFill>
                  <a:schemeClr val="bg1"/>
                </a:solidFill>
              </a:rPr>
              <a:t>3</a:t>
            </a:r>
          </a:p>
        </p:txBody>
      </p:sp>
      <p:sp>
        <p:nvSpPr>
          <p:cNvPr id="69" name="Rectangle 68">
            <a:extLst>
              <a:ext uri="{FF2B5EF4-FFF2-40B4-BE49-F238E27FC236}">
                <a16:creationId xmlns:a16="http://schemas.microsoft.com/office/drawing/2014/main" id="{17F6E4FF-ED83-734F-960B-58D5D280E47C}"/>
              </a:ext>
            </a:extLst>
          </p:cNvPr>
          <p:cNvSpPr/>
          <p:nvPr/>
        </p:nvSpPr>
        <p:spPr>
          <a:xfrm>
            <a:off x="5465669" y="2109524"/>
            <a:ext cx="2624432" cy="276999"/>
          </a:xfrm>
          <a:prstGeom prst="rect">
            <a:avLst/>
          </a:prstGeom>
        </p:spPr>
        <p:txBody>
          <a:bodyPr wrap="square" lIns="0" tIns="0" rIns="0" bIns="0">
            <a:spAutoFit/>
          </a:bodyPr>
          <a:lstStyle/>
          <a:p>
            <a:r>
              <a:rPr lang="en-US" b="1">
                <a:solidFill>
                  <a:srgbClr val="000000"/>
                </a:solidFill>
              </a:rPr>
              <a:t>Cast Recommendation</a:t>
            </a:r>
          </a:p>
        </p:txBody>
      </p:sp>
      <p:sp>
        <p:nvSpPr>
          <p:cNvPr id="70" name="Rectangle 69">
            <a:extLst>
              <a:ext uri="{FF2B5EF4-FFF2-40B4-BE49-F238E27FC236}">
                <a16:creationId xmlns:a16="http://schemas.microsoft.com/office/drawing/2014/main" id="{9CBB027C-82D5-804B-863B-B3A06C16DA62}"/>
              </a:ext>
            </a:extLst>
          </p:cNvPr>
          <p:cNvSpPr/>
          <p:nvPr/>
        </p:nvSpPr>
        <p:spPr>
          <a:xfrm>
            <a:off x="8903138" y="2115014"/>
            <a:ext cx="2589288" cy="276999"/>
          </a:xfrm>
          <a:prstGeom prst="rect">
            <a:avLst/>
          </a:prstGeom>
        </p:spPr>
        <p:txBody>
          <a:bodyPr wrap="square" lIns="0" tIns="0" rIns="0" bIns="0">
            <a:spAutoFit/>
          </a:bodyPr>
          <a:lstStyle/>
          <a:p>
            <a:r>
              <a:rPr lang="en-US" b="1">
                <a:solidFill>
                  <a:srgbClr val="000000"/>
                </a:solidFill>
              </a:rPr>
              <a:t>Director Recommendation</a:t>
            </a:r>
            <a:endParaRPr lang="en-US">
              <a:solidFill>
                <a:srgbClr val="000000"/>
              </a:solidFill>
            </a:endParaRPr>
          </a:p>
        </p:txBody>
      </p:sp>
      <p:sp>
        <p:nvSpPr>
          <p:cNvPr id="71" name="Arc 70">
            <a:extLst>
              <a:ext uri="{FF2B5EF4-FFF2-40B4-BE49-F238E27FC236}">
                <a16:creationId xmlns:a16="http://schemas.microsoft.com/office/drawing/2014/main" id="{E50C8F51-87C2-3B4B-9972-0A74BE3231FF}"/>
              </a:ext>
            </a:extLst>
          </p:cNvPr>
          <p:cNvSpPr/>
          <p:nvPr/>
        </p:nvSpPr>
        <p:spPr>
          <a:xfrm rot="6739027">
            <a:off x="4612899" y="1065576"/>
            <a:ext cx="617932" cy="608660"/>
          </a:xfrm>
          <a:prstGeom prst="arc">
            <a:avLst>
              <a:gd name="adj1" fmla="val 15382243"/>
              <a:gd name="adj2" fmla="val 1177101"/>
            </a:avLst>
          </a:prstGeom>
          <a:solidFill>
            <a:srgbClr val="53565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FD03E786-8874-3D40-A781-5CED8D9EAF21}"/>
              </a:ext>
            </a:extLst>
          </p:cNvPr>
          <p:cNvSpPr/>
          <p:nvPr/>
        </p:nvSpPr>
        <p:spPr>
          <a:xfrm rot="6739027">
            <a:off x="737859" y="1078276"/>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F9D03C20-CB3D-354D-B4DA-7DBF3AA40098}"/>
              </a:ext>
            </a:extLst>
          </p:cNvPr>
          <p:cNvSpPr/>
          <p:nvPr/>
        </p:nvSpPr>
        <p:spPr>
          <a:xfrm rot="6739027">
            <a:off x="8467176" y="1065725"/>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7FCFA17D-F7A4-7E4C-BEF0-59992BE78D25}"/>
              </a:ext>
            </a:extLst>
          </p:cNvPr>
          <p:cNvCxnSpPr/>
          <p:nvPr/>
        </p:nvCxnSpPr>
        <p:spPr>
          <a:xfrm flipH="1">
            <a:off x="979752" y="1938035"/>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11C47E3-DCF6-BB42-872A-F154F912F2B7}"/>
              </a:ext>
            </a:extLst>
          </p:cNvPr>
          <p:cNvCxnSpPr/>
          <p:nvPr/>
        </p:nvCxnSpPr>
        <p:spPr>
          <a:xfrm flipH="1">
            <a:off x="4470700" y="2212885"/>
            <a:ext cx="4732" cy="3237506"/>
          </a:xfrm>
          <a:prstGeom prst="straightConnector1">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7C14C6C-BAE5-EC4E-B979-C3B4BC7D4D4C}"/>
              </a:ext>
            </a:extLst>
          </p:cNvPr>
          <p:cNvCxnSpPr/>
          <p:nvPr/>
        </p:nvCxnSpPr>
        <p:spPr>
          <a:xfrm flipH="1">
            <a:off x="8739233" y="1938036"/>
            <a:ext cx="4732" cy="3237506"/>
          </a:xfrm>
          <a:prstGeom prst="straightConnector1">
            <a:avLst/>
          </a:prstGeom>
          <a:ln>
            <a:solidFill>
              <a:srgbClr val="43B02A"/>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214826" y="2476469"/>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3 recommendations based on </a:t>
            </a:r>
            <a:r>
              <a:rPr lang="en-US">
                <a:latin typeface="Calibri"/>
              </a:rPr>
              <a:t>statistical analysis </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231003"/>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Summary</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sp>
        <p:nvSpPr>
          <p:cNvPr id="23" name="TextBox 22">
            <a:extLst>
              <a:ext uri="{FF2B5EF4-FFF2-40B4-BE49-F238E27FC236}">
                <a16:creationId xmlns:a16="http://schemas.microsoft.com/office/drawing/2014/main" id="{AF03062A-1C52-40E5-8A13-B103454F7209}"/>
              </a:ext>
            </a:extLst>
          </p:cNvPr>
          <p:cNvSpPr txBox="1"/>
          <p:nvPr/>
        </p:nvSpPr>
        <p:spPr>
          <a:xfrm>
            <a:off x="5233284" y="3147650"/>
            <a:ext cx="2923913" cy="1107996"/>
          </a:xfrm>
          <a:prstGeom prst="rect">
            <a:avLst/>
          </a:prstGeom>
          <a:noFill/>
        </p:spPr>
        <p:txBody>
          <a:bodyPr wrap="square" lIns="0" tIns="0" rIns="0" bIns="0" rtlCol="0" anchor="t">
            <a:spAutoFit/>
          </a:bodyPr>
          <a:lstStyle/>
          <a:p>
            <a:pPr algn="ctr">
              <a:buSzPct val="100000"/>
            </a:pPr>
            <a:r>
              <a:rPr lang="en-US" altLang="en-US" sz="2400" b="1">
                <a:solidFill>
                  <a:srgbClr val="225815"/>
                </a:solidFill>
                <a:cs typeface="Segoe UI"/>
              </a:rPr>
              <a:t>Cast four main actors and actresses from the lists of top performers </a:t>
            </a:r>
          </a:p>
        </p:txBody>
      </p:sp>
      <p:sp>
        <p:nvSpPr>
          <p:cNvPr id="24" name="TextBox 23">
            <a:extLst>
              <a:ext uri="{FF2B5EF4-FFF2-40B4-BE49-F238E27FC236}">
                <a16:creationId xmlns:a16="http://schemas.microsoft.com/office/drawing/2014/main" id="{43C3680B-7FAA-4042-B2A5-2F4E87D38022}"/>
              </a:ext>
            </a:extLst>
          </p:cNvPr>
          <p:cNvSpPr txBox="1"/>
          <p:nvPr/>
        </p:nvSpPr>
        <p:spPr>
          <a:xfrm>
            <a:off x="8806329" y="3147650"/>
            <a:ext cx="2923913" cy="738664"/>
          </a:xfrm>
          <a:prstGeom prst="rect">
            <a:avLst/>
          </a:prstGeom>
          <a:noFill/>
        </p:spPr>
        <p:txBody>
          <a:bodyPr wrap="square" lIns="0" tIns="0" rIns="0" bIns="0" rtlCol="0" anchor="t">
            <a:spAutoFit/>
          </a:bodyPr>
          <a:lstStyle/>
          <a:p>
            <a:pPr algn="ctr">
              <a:buSzPct val="100000"/>
            </a:pPr>
            <a:r>
              <a:rPr lang="en-US" altLang="en-US" sz="2400" b="1">
                <a:solidFill>
                  <a:srgbClr val="225815"/>
                </a:solidFill>
                <a:cs typeface="Segoe UI"/>
              </a:rPr>
              <a:t>Hire Ava DuVernay as the movie director</a:t>
            </a:r>
          </a:p>
        </p:txBody>
      </p:sp>
    </p:spTree>
    <p:extLst>
      <p:ext uri="{BB962C8B-B14F-4D97-AF65-F5344CB8AC3E}">
        <p14:creationId xmlns:p14="http://schemas.microsoft.com/office/powerpoint/2010/main" val="4092582005"/>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
            <a:extLst>
              <a:ext uri="{FF2B5EF4-FFF2-40B4-BE49-F238E27FC236}">
                <a16:creationId xmlns:a16="http://schemas.microsoft.com/office/drawing/2014/main" id="{4D8F78C3-4095-40FF-89C4-2EBC75D8AEA7}"/>
              </a:ext>
            </a:extLst>
          </p:cNvPr>
          <p:cNvSpPr txBox="1">
            <a:spLocks/>
          </p:cNvSpPr>
          <p:nvPr/>
        </p:nvSpPr>
        <p:spPr>
          <a:xfrm>
            <a:off x="501650"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lang="en-US">
                <a:latin typeface="Calibri"/>
              </a:rPr>
              <a:t>Special Thank You!</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17" name="Title 2">
            <a:extLst>
              <a:ext uri="{FF2B5EF4-FFF2-40B4-BE49-F238E27FC236}">
                <a16:creationId xmlns:a16="http://schemas.microsoft.com/office/drawing/2014/main" id="{4DA6BC79-DCDE-416B-B987-74F19DA7BC1B}"/>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Acknowledgments</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grpSp>
        <p:nvGrpSpPr>
          <p:cNvPr id="18" name="Group 17">
            <a:extLst>
              <a:ext uri="{FF2B5EF4-FFF2-40B4-BE49-F238E27FC236}">
                <a16:creationId xmlns:a16="http://schemas.microsoft.com/office/drawing/2014/main" id="{3FA85A50-7BF5-4A57-9397-DE95B64FCC7A}"/>
              </a:ext>
            </a:extLst>
          </p:cNvPr>
          <p:cNvGrpSpPr/>
          <p:nvPr/>
        </p:nvGrpSpPr>
        <p:grpSpPr>
          <a:xfrm>
            <a:off x="2598687" y="1408855"/>
            <a:ext cx="6994626" cy="4299099"/>
            <a:chOff x="2576685" y="1611784"/>
            <a:chExt cx="4400207" cy="4299099"/>
          </a:xfrm>
        </p:grpSpPr>
        <p:sp>
          <p:nvSpPr>
            <p:cNvPr id="19" name="Rectangle 18">
              <a:extLst>
                <a:ext uri="{FF2B5EF4-FFF2-40B4-BE49-F238E27FC236}">
                  <a16:creationId xmlns:a16="http://schemas.microsoft.com/office/drawing/2014/main" id="{147370EA-7F8D-424B-81E5-0A9D9E740EF0}"/>
                </a:ext>
              </a:extLst>
            </p:cNvPr>
            <p:cNvSpPr>
              <a:spLocks noChangeArrowheads="1"/>
            </p:cNvSpPr>
            <p:nvPr/>
          </p:nvSpPr>
          <p:spPr bwMode="auto">
            <a:xfrm>
              <a:off x="2576685"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Flatiron Instruc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William Wang</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0" name="Rectangle 19">
              <a:extLst>
                <a:ext uri="{FF2B5EF4-FFF2-40B4-BE49-F238E27FC236}">
                  <a16:creationId xmlns:a16="http://schemas.microsoft.com/office/drawing/2014/main" id="{9ED80A8B-4D8A-4564-9B81-8CAA4F94F052}"/>
                </a:ext>
              </a:extLst>
            </p:cNvPr>
            <p:cNvSpPr>
              <a:spLocks noChangeArrowheads="1"/>
            </p:cNvSpPr>
            <p:nvPr/>
          </p:nvSpPr>
          <p:spPr bwMode="auto">
            <a:xfrm>
              <a:off x="4073526"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prstClr val="black"/>
                  </a:solidFill>
                  <a:ea typeface="ＭＳ Ｐゴシック" pitchFamily="50" charset="-128"/>
                </a:rPr>
                <a:t>Flatiron Instruc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Nesli </a:t>
              </a:r>
              <a:r>
                <a:rPr kumimoji="0" lang="en-US" sz="1400" b="0" i="0" u="none" strike="noStrike" kern="0" cap="none" spc="0" normalizeH="0" baseline="0" noProof="0" err="1">
                  <a:ln>
                    <a:noFill/>
                  </a:ln>
                  <a:solidFill>
                    <a:prstClr val="black"/>
                  </a:solidFill>
                  <a:effectLst/>
                  <a:uLnTx/>
                  <a:uFillTx/>
                  <a:ea typeface="ＭＳ Ｐゴシック" pitchFamily="50" charset="-128"/>
                </a:rPr>
                <a:t>Bisgin</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1" name="Rectangle 20">
              <a:extLst>
                <a:ext uri="{FF2B5EF4-FFF2-40B4-BE49-F238E27FC236}">
                  <a16:creationId xmlns:a16="http://schemas.microsoft.com/office/drawing/2014/main" id="{718463A0-B22E-44D0-8775-7EFBBCEDF1F3}"/>
                </a:ext>
              </a:extLst>
            </p:cNvPr>
            <p:cNvSpPr>
              <a:spLocks noChangeArrowheads="1"/>
            </p:cNvSpPr>
            <p:nvPr/>
          </p:nvSpPr>
          <p:spPr bwMode="auto">
            <a:xfrm>
              <a:off x="5570367"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Program Coordinat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Tina Lhotak</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2" name="Rectangle 21">
              <a:extLst>
                <a:ext uri="{FF2B5EF4-FFF2-40B4-BE49-F238E27FC236}">
                  <a16:creationId xmlns:a16="http://schemas.microsoft.com/office/drawing/2014/main" id="{814DA227-5162-4589-BE59-C2897EAAD937}"/>
                </a:ext>
              </a:extLst>
            </p:cNvPr>
            <p:cNvSpPr>
              <a:spLocks noChangeArrowheads="1"/>
            </p:cNvSpPr>
            <p:nvPr/>
          </p:nvSpPr>
          <p:spPr bwMode="auto">
            <a:xfrm>
              <a:off x="2576685"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Flatiron Program Coordinator</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prstClr val="black"/>
                  </a:solidFill>
                  <a:ea typeface="ＭＳ Ｐゴシック" pitchFamily="50" charset="-128"/>
                </a:rPr>
                <a:t>Jordan </a:t>
              </a:r>
              <a:r>
                <a:rPr lang="en-US" sz="1400" kern="0" err="1">
                  <a:solidFill>
                    <a:prstClr val="black"/>
                  </a:solidFill>
                  <a:ea typeface="ＭＳ Ｐゴシック" pitchFamily="50" charset="-128"/>
                </a:rPr>
                <a:t>Schraeder</a:t>
              </a:r>
              <a:endParaRPr kumimoji="0" lang="en-US" sz="1400" b="0" i="0" u="none" strike="noStrike" kern="0" cap="none" spc="0" normalizeH="0" baseline="0" noProof="0">
                <a:ln>
                  <a:noFill/>
                </a:ln>
                <a:solidFill>
                  <a:prstClr val="black"/>
                </a:solidFill>
                <a:effectLst/>
                <a:uLnTx/>
                <a:uFillTx/>
                <a:ea typeface="ＭＳ Ｐゴシック" pitchFamily="50" charset="-128"/>
              </a:endParaRPr>
            </a:p>
          </p:txBody>
        </p:sp>
        <p:sp>
          <p:nvSpPr>
            <p:cNvPr id="23" name="Rectangle 22">
              <a:extLst>
                <a:ext uri="{FF2B5EF4-FFF2-40B4-BE49-F238E27FC236}">
                  <a16:creationId xmlns:a16="http://schemas.microsoft.com/office/drawing/2014/main" id="{36B9ED1D-6B9E-4EAA-B5D1-4A557F1269CB}"/>
                </a:ext>
              </a:extLst>
            </p:cNvPr>
            <p:cNvSpPr>
              <a:spLocks noChangeArrowheads="1"/>
            </p:cNvSpPr>
            <p:nvPr/>
          </p:nvSpPr>
          <p:spPr bwMode="auto">
            <a:xfrm>
              <a:off x="4073526"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AI Cohort 4</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4" name="Rectangle 23">
              <a:extLst>
                <a:ext uri="{FF2B5EF4-FFF2-40B4-BE49-F238E27FC236}">
                  <a16:creationId xmlns:a16="http://schemas.microsoft.com/office/drawing/2014/main" id="{1F202A57-6C6F-4758-AD37-1F0659D639B6}"/>
                </a:ext>
              </a:extLst>
            </p:cNvPr>
            <p:cNvSpPr>
              <a:spLocks noChangeArrowheads="1"/>
            </p:cNvSpPr>
            <p:nvPr/>
          </p:nvSpPr>
          <p:spPr bwMode="auto">
            <a:xfrm>
              <a:off x="5570367"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Guest Speakers</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5" name="Rectangle 24">
              <a:extLst>
                <a:ext uri="{FF2B5EF4-FFF2-40B4-BE49-F238E27FC236}">
                  <a16:creationId xmlns:a16="http://schemas.microsoft.com/office/drawing/2014/main" id="{33E3C553-8FB7-4EE4-A3A2-7235BC62CB48}"/>
                </a:ext>
              </a:extLst>
            </p:cNvPr>
            <p:cNvSpPr>
              <a:spLocks noChangeArrowheads="1"/>
            </p:cNvSpPr>
            <p:nvPr/>
          </p:nvSpPr>
          <p:spPr bwMode="auto">
            <a:xfrm>
              <a:off x="2576685"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Program</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Coordinato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Amy Huttenhoff</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6" name="Rectangle 25">
              <a:extLst>
                <a:ext uri="{FF2B5EF4-FFF2-40B4-BE49-F238E27FC236}">
                  <a16:creationId xmlns:a16="http://schemas.microsoft.com/office/drawing/2014/main" id="{16582A6D-B588-47A7-9D54-9273E0068D80}"/>
                </a:ext>
              </a:extLst>
            </p:cNvPr>
            <p:cNvSpPr>
              <a:spLocks noChangeArrowheads="1"/>
            </p:cNvSpPr>
            <p:nvPr/>
          </p:nvSpPr>
          <p:spPr bwMode="auto">
            <a:xfrm>
              <a:off x="4073526"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Program Coordina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Laura Tolliver</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7" name="Rectangle 26">
              <a:extLst>
                <a:ext uri="{FF2B5EF4-FFF2-40B4-BE49-F238E27FC236}">
                  <a16:creationId xmlns:a16="http://schemas.microsoft.com/office/drawing/2014/main" id="{297E0858-A07A-4E83-AFAC-88ED7100B260}"/>
                </a:ext>
              </a:extLst>
            </p:cNvPr>
            <p:cNvSpPr>
              <a:spLocks noChangeArrowheads="1"/>
            </p:cNvSpPr>
            <p:nvPr/>
          </p:nvSpPr>
          <p:spPr bwMode="auto">
            <a:xfrm>
              <a:off x="5570367"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algn="ctr">
                <a:defRPr/>
              </a:pPr>
              <a:r>
                <a:rPr kumimoji="0" lang="en-US" sz="1400" b="0" i="0" u="none" strike="noStrike" kern="0" cap="none" spc="0" normalizeH="0" baseline="0" noProof="0">
                  <a:ln>
                    <a:noFill/>
                  </a:ln>
                  <a:solidFill>
                    <a:prstClr val="black"/>
                  </a:solidFill>
                  <a:effectLst/>
                  <a:uLnTx/>
                  <a:uFillTx/>
                  <a:ea typeface="ＭＳ Ｐゴシック" pitchFamily="50" charset="-128"/>
                </a:rPr>
                <a:t>Mentor</a:t>
              </a:r>
            </a:p>
            <a:p>
              <a:pPr algn="ctr">
                <a:defRPr/>
              </a:pPr>
              <a:r>
                <a:rPr kumimoji="0" lang="en-US" sz="1400" b="0" i="0" u="none" strike="noStrike" kern="0" cap="none" spc="0" normalizeH="0" baseline="0" noProof="0">
                  <a:ln>
                    <a:noFill/>
                  </a:ln>
                  <a:solidFill>
                    <a:prstClr val="black"/>
                  </a:solidFill>
                  <a:effectLst/>
                  <a:uLnTx/>
                  <a:uFillTx/>
                  <a:ea typeface="ＭＳ Ｐゴシック" pitchFamily="50" charset="-128"/>
                </a:rPr>
                <a:t> Lionel Medal</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grpSp>
    </p:spTree>
    <p:extLst>
      <p:ext uri="{BB962C8B-B14F-4D97-AF65-F5344CB8AC3E}">
        <p14:creationId xmlns:p14="http://schemas.microsoft.com/office/powerpoint/2010/main" val="1975784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DFBDC-BDF6-4AD3-9E1C-1A30B929E617}"/>
              </a:ext>
            </a:extLst>
          </p:cNvPr>
          <p:cNvSpPr>
            <a:spLocks noGrp="1"/>
          </p:cNvSpPr>
          <p:nvPr>
            <p:ph type="title"/>
          </p:nvPr>
        </p:nvSpPr>
        <p:spPr/>
        <p:txBody>
          <a:bodyPr/>
          <a:lstStyle/>
          <a:p>
            <a:r>
              <a:rPr lang="en-US"/>
              <a:t>THANK YOU!</a:t>
            </a:r>
          </a:p>
        </p:txBody>
      </p:sp>
      <p:sp>
        <p:nvSpPr>
          <p:cNvPr id="3" name="Text Placeholder 2">
            <a:extLst>
              <a:ext uri="{FF2B5EF4-FFF2-40B4-BE49-F238E27FC236}">
                <a16:creationId xmlns:a16="http://schemas.microsoft.com/office/drawing/2014/main" id="{BCDBCC36-D891-4929-9DDD-18F93AF85F44}"/>
              </a:ext>
            </a:extLst>
          </p:cNvPr>
          <p:cNvSpPr>
            <a:spLocks noGrp="1"/>
          </p:cNvSpPr>
          <p:nvPr>
            <p:ph type="body" idx="1"/>
          </p:nvPr>
        </p:nvSpPr>
        <p:spPr/>
        <p:txBody>
          <a:bodyPr/>
          <a:lstStyle/>
          <a:p>
            <a:r>
              <a:rPr lang="en-US"/>
              <a:t>QUESTIONS</a:t>
            </a:r>
          </a:p>
        </p:txBody>
      </p:sp>
    </p:spTree>
    <p:extLst>
      <p:ext uri="{BB962C8B-B14F-4D97-AF65-F5344CB8AC3E}">
        <p14:creationId xmlns:p14="http://schemas.microsoft.com/office/powerpoint/2010/main" val="93304634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E4673061-0DCC-FF44-BC15-36499893F6A3}"/>
              </a:ext>
            </a:extLst>
          </p:cNvPr>
          <p:cNvSpPr/>
          <p:nvPr/>
        </p:nvSpPr>
        <p:spPr>
          <a:xfrm>
            <a:off x="1146048" y="2212885"/>
            <a:ext cx="2624779" cy="276999"/>
          </a:xfrm>
          <a:prstGeom prst="rect">
            <a:avLst/>
          </a:prstGeom>
        </p:spPr>
        <p:txBody>
          <a:bodyPr wrap="square" lIns="0" tIns="0" rIns="0" bIns="0">
            <a:spAutoFit/>
          </a:bodyPr>
          <a:lstStyle/>
          <a:p>
            <a:r>
              <a:rPr lang="en-US" b="1">
                <a:solidFill>
                  <a:srgbClr val="000000"/>
                </a:solidFill>
              </a:rPr>
              <a:t>Recommendation 1</a:t>
            </a:r>
          </a:p>
        </p:txBody>
      </p:sp>
      <p:sp>
        <p:nvSpPr>
          <p:cNvPr id="57" name="TextBox 56">
            <a:extLst>
              <a:ext uri="{FF2B5EF4-FFF2-40B4-BE49-F238E27FC236}">
                <a16:creationId xmlns:a16="http://schemas.microsoft.com/office/drawing/2014/main" id="{47666E0F-CA29-684F-983B-621C31E3536E}"/>
              </a:ext>
            </a:extLst>
          </p:cNvPr>
          <p:cNvSpPr txBox="1"/>
          <p:nvPr/>
        </p:nvSpPr>
        <p:spPr>
          <a:xfrm>
            <a:off x="8823742" y="2554396"/>
            <a:ext cx="3562273" cy="4185761"/>
          </a:xfrm>
          <a:prstGeom prst="rect">
            <a:avLst/>
          </a:prstGeom>
          <a:noFill/>
        </p:spPr>
        <p:txBody>
          <a:bodyPr wrap="square" lIns="0" tIns="0" rIns="0" bIns="0" rtlCol="0" anchor="t">
            <a:spAutoFit/>
          </a:bodyPr>
          <a:lstStyle/>
          <a:p>
            <a:pPr>
              <a:buSzPct val="100000"/>
            </a:pPr>
            <a:r>
              <a:rPr lang="en-US" altLang="en-US" sz="1600" b="1">
                <a:solidFill>
                  <a:schemeClr val="accent2"/>
                </a:solidFill>
                <a:cs typeface="Segoe UI"/>
              </a:rPr>
              <a:t>Ava Duvernay is director that we recommend for any upcoming movies</a:t>
            </a:r>
          </a:p>
          <a:p>
            <a:pPr>
              <a:buSzPct val="100000"/>
            </a:pPr>
            <a:endParaRPr lang="en-US" altLang="en-US" sz="1600" b="1">
              <a:solidFill>
                <a:schemeClr val="accent2"/>
              </a:solidFill>
              <a:cs typeface="Segoe UI" panose="020B0502040204020203" pitchFamily="34" charset="0"/>
            </a:endParaRPr>
          </a:p>
          <a:p>
            <a:pPr marL="171450" indent="-171450" eaLnBrk="0" fontAlgn="base" hangingPunct="0">
              <a:buFont typeface="Arial" panose="020B0604020202020204" pitchFamily="34" charset="0"/>
              <a:buChar char="•"/>
            </a:pPr>
            <a:r>
              <a:rPr lang="en-US" sz="1600">
                <a:solidFill>
                  <a:srgbClr val="000000"/>
                </a:solidFill>
                <a:cs typeface="Segoe UI"/>
              </a:rPr>
              <a:t>When comparing ratio of fresh to rotten, her ratio was the highest (198 fresh/2 rotten) of the total </a:t>
            </a:r>
            <a:r>
              <a:rPr lang="en-US" sz="1600" b="1">
                <a:solidFill>
                  <a:srgbClr val="000000"/>
                </a:solidFill>
                <a:cs typeface="Segoe UI"/>
              </a:rPr>
              <a:t>829 directors</a:t>
            </a:r>
            <a:r>
              <a:rPr lang="en-US" sz="1600">
                <a:solidFill>
                  <a:srgbClr val="000000"/>
                </a:solidFill>
                <a:cs typeface="Segoe UI"/>
              </a:rPr>
              <a:t>.</a:t>
            </a:r>
          </a:p>
          <a:p>
            <a:pPr marL="171450" indent="-171450" eaLnBrk="0" fontAlgn="base" hangingPunct="0">
              <a:buFont typeface="Arial" panose="020B0604020202020204" pitchFamily="34" charset="0"/>
              <a:buChar char="•"/>
            </a:pPr>
            <a:endParaRPr lang="en-US" sz="160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600">
                <a:solidFill>
                  <a:srgbClr val="000000"/>
                </a:solidFill>
                <a:cs typeface="Segoe UI"/>
              </a:rPr>
              <a:t>The average number of fresh given for these directors was 45 and the standard deviation was 29. Ava had 198, which makes her a huge outlier to the right. Specifically, she was in the </a:t>
            </a:r>
            <a:r>
              <a:rPr lang="en-US" sz="1600" b="1">
                <a:solidFill>
                  <a:srgbClr val="000000"/>
                </a:solidFill>
                <a:cs typeface="Segoe UI"/>
              </a:rPr>
              <a:t>top 1.2% of positive feedback</a:t>
            </a:r>
          </a:p>
          <a:p>
            <a:pPr marL="171450" indent="-171450" eaLnBrk="0" fontAlgn="base" hangingPunct="0">
              <a:buFont typeface="Arial" panose="020B0604020202020204" pitchFamily="34" charset="0"/>
              <a:buChar char="•"/>
            </a:pPr>
            <a:endParaRPr lang="en-US" sz="1600">
              <a:solidFill>
                <a:srgbClr val="000000"/>
              </a:solidFill>
              <a:cs typeface="Segoe UI" panose="020B0502040204020203" pitchFamily="34" charset="0"/>
            </a:endParaRPr>
          </a:p>
          <a:p>
            <a:pPr marL="171450" indent="-171450" eaLnBrk="0" fontAlgn="base" hangingPunct="0">
              <a:buFont typeface="Arial" panose="020B0604020202020204" pitchFamily="34" charset="0"/>
              <a:buChar char="•"/>
            </a:pPr>
            <a:r>
              <a:rPr lang="en-US" sz="1600">
                <a:solidFill>
                  <a:srgbClr val="000000"/>
                </a:solidFill>
                <a:cs typeface="Segoe UI"/>
              </a:rPr>
              <a:t>When looking at the average rating of all the movies each of the directors have directed, </a:t>
            </a:r>
            <a:r>
              <a:rPr lang="en-US" sz="1600" b="1">
                <a:solidFill>
                  <a:srgbClr val="000000"/>
                </a:solidFill>
                <a:cs typeface="Segoe UI"/>
              </a:rPr>
              <a:t>Ava was in the top 6.7%. </a:t>
            </a:r>
          </a:p>
        </p:txBody>
      </p:sp>
      <p:sp>
        <p:nvSpPr>
          <p:cNvPr id="58" name="TextBox 57">
            <a:extLst>
              <a:ext uri="{FF2B5EF4-FFF2-40B4-BE49-F238E27FC236}">
                <a16:creationId xmlns:a16="http://schemas.microsoft.com/office/drawing/2014/main" id="{4CB3C754-9E33-3842-974C-E961090B698A}"/>
              </a:ext>
            </a:extLst>
          </p:cNvPr>
          <p:cNvSpPr txBox="1"/>
          <p:nvPr/>
        </p:nvSpPr>
        <p:spPr>
          <a:xfrm>
            <a:off x="5007192" y="2593391"/>
            <a:ext cx="3511815" cy="3939540"/>
          </a:xfrm>
          <a:prstGeom prst="rect">
            <a:avLst/>
          </a:prstGeom>
          <a:noFill/>
        </p:spPr>
        <p:txBody>
          <a:bodyPr wrap="square" lIns="0" tIns="0" rIns="0" bIns="0" rtlCol="0" anchor="t">
            <a:spAutoFit/>
          </a:bodyPr>
          <a:lstStyle/>
          <a:p>
            <a:pPr>
              <a:buSzPct val="100000"/>
            </a:pPr>
            <a:r>
              <a:rPr lang="en-US" altLang="en-US" sz="1600" b="1">
                <a:solidFill>
                  <a:schemeClr val="bg2">
                    <a:lumMod val="50000"/>
                  </a:schemeClr>
                </a:solidFill>
                <a:cs typeface="Segoe UI"/>
              </a:rPr>
              <a:t>We came out with list of candidates for actors and actresses from the most popular ones in the latest years to include in the movie as part of the main cast</a:t>
            </a:r>
            <a:endParaRPr lang="en-US" altLang="en-US" sz="1600" b="1">
              <a:solidFill>
                <a:schemeClr val="bg2">
                  <a:lumMod val="50000"/>
                </a:schemeClr>
              </a:solidFill>
              <a:cs typeface="Segoe UI" panose="020B0502040204020203" pitchFamily="34" charset="0"/>
            </a:endParaRPr>
          </a:p>
          <a:p>
            <a:endParaRPr lang="en-US" altLang="en-US" sz="1600" b="1">
              <a:solidFill>
                <a:schemeClr val="bg2">
                  <a:lumMod val="50000"/>
                </a:schemeClr>
              </a:solidFill>
              <a:cs typeface="Segoe UI"/>
            </a:endParaRPr>
          </a:p>
          <a:p>
            <a:pPr marL="171450" indent="-171450">
              <a:buFont typeface="Arial" panose="020B0604020202020204" pitchFamily="34" charset="0"/>
              <a:buChar char="•"/>
            </a:pPr>
            <a:r>
              <a:rPr lang="en-US" sz="1600">
                <a:solidFill>
                  <a:srgbClr val="000000"/>
                </a:solidFill>
                <a:cs typeface="Segoe UI"/>
              </a:rPr>
              <a:t>Based on the </a:t>
            </a:r>
            <a:r>
              <a:rPr lang="en-US" sz="1600" b="1">
                <a:solidFill>
                  <a:srgbClr val="000000"/>
                </a:solidFill>
                <a:cs typeface="Segoe UI"/>
              </a:rPr>
              <a:t>total number of reviews</a:t>
            </a:r>
            <a:r>
              <a:rPr lang="en-US" sz="1600">
                <a:solidFill>
                  <a:srgbClr val="000000"/>
                </a:solidFill>
                <a:cs typeface="Segoe UI"/>
              </a:rPr>
              <a:t> they have; we have </a:t>
            </a:r>
            <a:r>
              <a:rPr lang="en-US" sz="1600" b="1">
                <a:solidFill>
                  <a:srgbClr val="000000"/>
                </a:solidFill>
                <a:cs typeface="Segoe UI"/>
              </a:rPr>
              <a:t>selected 10 actors and 10 actresses</a:t>
            </a:r>
            <a:r>
              <a:rPr lang="en-US" sz="1600">
                <a:solidFill>
                  <a:srgbClr val="000000"/>
                </a:solidFill>
                <a:cs typeface="Segoe UI"/>
              </a:rPr>
              <a:t> to choose from.</a:t>
            </a:r>
          </a:p>
          <a:p>
            <a:pPr marL="171450" indent="-171450">
              <a:buFont typeface="Arial" panose="020B0604020202020204" pitchFamily="34" charset="0"/>
              <a:buChar char="•"/>
            </a:pPr>
            <a:endParaRPr lang="en-US" sz="1600">
              <a:solidFill>
                <a:srgbClr val="000000"/>
              </a:solidFill>
              <a:cs typeface="Segoe UI"/>
            </a:endParaRPr>
          </a:p>
          <a:p>
            <a:pPr marL="171450" indent="-171450">
              <a:buFont typeface="Arial" panose="020B0604020202020204" pitchFamily="34" charset="0"/>
              <a:buChar char="•"/>
            </a:pPr>
            <a:r>
              <a:rPr lang="en-US" altLang="en-US" sz="1600">
                <a:solidFill>
                  <a:srgbClr val="000000"/>
                </a:solidFill>
                <a:cs typeface="Segoe UI"/>
              </a:rPr>
              <a:t>We have ordered them based on the average ratings of the movies they have participated in in since 2015</a:t>
            </a:r>
          </a:p>
          <a:p>
            <a:pPr marL="171450" indent="-171450">
              <a:buFont typeface="Arial" panose="020B0604020202020204" pitchFamily="34" charset="0"/>
              <a:buChar char="•"/>
            </a:pPr>
            <a:endParaRPr lang="en-US" altLang="en-US" sz="1600">
              <a:solidFill>
                <a:srgbClr val="000000"/>
              </a:solidFill>
              <a:cs typeface="Segoe UI"/>
            </a:endParaRPr>
          </a:p>
          <a:p>
            <a:pPr marL="171450" indent="-171450">
              <a:buFont typeface="Arial" panose="020B0604020202020204" pitchFamily="34" charset="0"/>
              <a:buChar char="•"/>
            </a:pPr>
            <a:r>
              <a:rPr lang="en-US" altLang="en-US" sz="1600">
                <a:cs typeface="Segoe UI"/>
              </a:rPr>
              <a:t>We also recommend  to choose around 4 main actors or actresses</a:t>
            </a:r>
          </a:p>
        </p:txBody>
      </p:sp>
      <p:sp>
        <p:nvSpPr>
          <p:cNvPr id="59" name="TextBox 58">
            <a:extLst>
              <a:ext uri="{FF2B5EF4-FFF2-40B4-BE49-F238E27FC236}">
                <a16:creationId xmlns:a16="http://schemas.microsoft.com/office/drawing/2014/main" id="{45623FCC-20B3-8A49-81D9-8CFFBCC3285E}"/>
              </a:ext>
            </a:extLst>
          </p:cNvPr>
          <p:cNvSpPr txBox="1"/>
          <p:nvPr/>
        </p:nvSpPr>
        <p:spPr>
          <a:xfrm>
            <a:off x="1204710" y="2591863"/>
            <a:ext cx="2923913" cy="3939540"/>
          </a:xfrm>
          <a:prstGeom prst="rect">
            <a:avLst/>
          </a:prstGeom>
          <a:noFill/>
        </p:spPr>
        <p:txBody>
          <a:bodyPr wrap="square" lIns="0" tIns="0" rIns="0" bIns="0" rtlCol="0" anchor="t">
            <a:spAutoFit/>
          </a:bodyPr>
          <a:lstStyle/>
          <a:p>
            <a:pPr>
              <a:buSzPct val="100000"/>
            </a:pPr>
            <a:r>
              <a:rPr lang="en-US" altLang="en-US" sz="1600" b="1">
                <a:solidFill>
                  <a:schemeClr val="accent1"/>
                </a:solidFill>
                <a:cs typeface="Segoe UI"/>
              </a:rPr>
              <a:t>Our team recommends to centralize production focus in the Music genre. Movies in the music genre have above average ratings and face less competition within the specific genre</a:t>
            </a:r>
          </a:p>
          <a:p>
            <a:pPr>
              <a:buSzPct val="100000"/>
            </a:pPr>
            <a:endParaRPr lang="en-US" altLang="en-US" sz="1600" b="1">
              <a:solidFill>
                <a:schemeClr val="accent1"/>
              </a:solidFill>
              <a:cs typeface="Segoe UI" panose="020B0502040204020203" pitchFamily="34" charset="0"/>
            </a:endParaRPr>
          </a:p>
          <a:p>
            <a:pPr marL="171450" indent="-171450" eaLnBrk="0" fontAlgn="base" hangingPunct="0">
              <a:buFont typeface="Arial" panose="020B0604020202020204" pitchFamily="34" charset="0"/>
              <a:buChar char="•"/>
            </a:pPr>
            <a:r>
              <a:rPr lang="en-US" sz="1600">
                <a:solidFill>
                  <a:srgbClr val="000000"/>
                </a:solidFill>
                <a:cs typeface="Segoe UI"/>
              </a:rPr>
              <a:t>Movies in the music genre have an average rating of 7.2/10 while all other genres have an average rating of 6.4/10</a:t>
            </a:r>
          </a:p>
          <a:p>
            <a:pPr marL="171450" indent="-171450" eaLnBrk="0" fontAlgn="base" hangingPunct="0">
              <a:buFont typeface="Arial" panose="020B0604020202020204" pitchFamily="34" charset="0"/>
              <a:buChar char="•"/>
            </a:pPr>
            <a:endParaRPr lang="en-US" sz="1600">
              <a:solidFill>
                <a:srgbClr val="000000"/>
              </a:solidFill>
              <a:cs typeface="Segoe UI"/>
            </a:endParaRPr>
          </a:p>
          <a:p>
            <a:pPr marL="171450" indent="-171450" eaLnBrk="0" fontAlgn="base" hangingPunct="0">
              <a:buFont typeface="Arial" panose="020B0604020202020204" pitchFamily="34" charset="0"/>
              <a:buChar char="•"/>
            </a:pPr>
            <a:r>
              <a:rPr lang="en-US" sz="1600">
                <a:solidFill>
                  <a:srgbClr val="000000"/>
                </a:solidFill>
                <a:cs typeface="Segoe UI"/>
              </a:rPr>
              <a:t>There are currently 308 movies that fall into the music genre while other genres have 2262 movies in them on average</a:t>
            </a:r>
            <a:endParaRPr lang="en-US" sz="1600">
              <a:solidFill>
                <a:srgbClr val="000000"/>
              </a:solidFill>
              <a:cs typeface="Segoe UI" panose="020B0502040204020203" pitchFamily="34" charset="0"/>
            </a:endParaRPr>
          </a:p>
        </p:txBody>
      </p:sp>
      <p:sp>
        <p:nvSpPr>
          <p:cNvPr id="60" name="Freeform 59">
            <a:extLst>
              <a:ext uri="{FF2B5EF4-FFF2-40B4-BE49-F238E27FC236}">
                <a16:creationId xmlns:a16="http://schemas.microsoft.com/office/drawing/2014/main" id="{A1C407FC-F4C0-B945-B923-2B7D11AF6D5A}"/>
              </a:ext>
            </a:extLst>
          </p:cNvPr>
          <p:cNvSpPr>
            <a:spLocks/>
          </p:cNvSpPr>
          <p:nvPr/>
        </p:nvSpPr>
        <p:spPr bwMode="auto">
          <a:xfrm rot="20334630" flipH="1">
            <a:off x="156295" y="1355300"/>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2" name="TextBox 61">
            <a:extLst>
              <a:ext uri="{FF2B5EF4-FFF2-40B4-BE49-F238E27FC236}">
                <a16:creationId xmlns:a16="http://schemas.microsoft.com/office/drawing/2014/main" id="{C0B56480-D87C-8145-A3FA-F4A59E0F7A79}"/>
              </a:ext>
            </a:extLst>
          </p:cNvPr>
          <p:cNvSpPr txBox="1"/>
          <p:nvPr/>
        </p:nvSpPr>
        <p:spPr>
          <a:xfrm>
            <a:off x="1571489" y="1151588"/>
            <a:ext cx="385737" cy="688256"/>
          </a:xfrm>
          <a:prstGeom prst="rect">
            <a:avLst/>
          </a:prstGeom>
          <a:noFill/>
        </p:spPr>
        <p:txBody>
          <a:bodyPr wrap="square" lIns="36000" tIns="36000" rIns="36000" bIns="36000" rtlCol="0" anchor="ctr">
            <a:spAutoFit/>
          </a:bodyPr>
          <a:lstStyle/>
          <a:p>
            <a:r>
              <a:rPr lang="en-US" sz="4000" b="1">
                <a:solidFill>
                  <a:schemeClr val="bg1"/>
                </a:solidFill>
              </a:rPr>
              <a:t>1</a:t>
            </a:r>
          </a:p>
        </p:txBody>
      </p:sp>
      <p:sp>
        <p:nvSpPr>
          <p:cNvPr id="63" name="Freeform 62">
            <a:extLst>
              <a:ext uri="{FF2B5EF4-FFF2-40B4-BE49-F238E27FC236}">
                <a16:creationId xmlns:a16="http://schemas.microsoft.com/office/drawing/2014/main" id="{50BE4C6A-4A6E-9644-8765-2C5D9F52F1F7}"/>
              </a:ext>
            </a:extLst>
          </p:cNvPr>
          <p:cNvSpPr>
            <a:spLocks/>
          </p:cNvSpPr>
          <p:nvPr/>
        </p:nvSpPr>
        <p:spPr bwMode="auto">
          <a:xfrm rot="20334630" flipH="1">
            <a:off x="4036631" y="1345775"/>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4" name="TextBox 63">
            <a:extLst>
              <a:ext uri="{FF2B5EF4-FFF2-40B4-BE49-F238E27FC236}">
                <a16:creationId xmlns:a16="http://schemas.microsoft.com/office/drawing/2014/main" id="{73B83227-D744-CF41-8638-2A464A63D870}"/>
              </a:ext>
            </a:extLst>
          </p:cNvPr>
          <p:cNvSpPr txBox="1"/>
          <p:nvPr/>
        </p:nvSpPr>
        <p:spPr>
          <a:xfrm>
            <a:off x="5451825" y="1142063"/>
            <a:ext cx="385737" cy="688256"/>
          </a:xfrm>
          <a:prstGeom prst="rect">
            <a:avLst/>
          </a:prstGeom>
          <a:noFill/>
        </p:spPr>
        <p:txBody>
          <a:bodyPr wrap="square" lIns="36000" tIns="36000" rIns="36000" bIns="36000" rtlCol="0" anchor="ctr">
            <a:spAutoFit/>
          </a:bodyPr>
          <a:lstStyle/>
          <a:p>
            <a:r>
              <a:rPr lang="en-US" sz="4000" b="1">
                <a:solidFill>
                  <a:schemeClr val="bg1"/>
                </a:solidFill>
              </a:rPr>
              <a:t>2</a:t>
            </a:r>
          </a:p>
        </p:txBody>
      </p:sp>
      <p:sp>
        <p:nvSpPr>
          <p:cNvPr id="66" name="Freeform 65">
            <a:extLst>
              <a:ext uri="{FF2B5EF4-FFF2-40B4-BE49-F238E27FC236}">
                <a16:creationId xmlns:a16="http://schemas.microsoft.com/office/drawing/2014/main" id="{A9ABCEEE-3266-C441-9FEB-35E4FAA9575F}"/>
              </a:ext>
            </a:extLst>
          </p:cNvPr>
          <p:cNvSpPr>
            <a:spLocks/>
          </p:cNvSpPr>
          <p:nvPr/>
        </p:nvSpPr>
        <p:spPr bwMode="auto">
          <a:xfrm rot="20334630" flipH="1">
            <a:off x="7895669" y="1364826"/>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67" name="TextBox 66">
            <a:extLst>
              <a:ext uri="{FF2B5EF4-FFF2-40B4-BE49-F238E27FC236}">
                <a16:creationId xmlns:a16="http://schemas.microsoft.com/office/drawing/2014/main" id="{1C4F0F43-3620-1B44-9B3D-BBBC42BAF3C9}"/>
              </a:ext>
            </a:extLst>
          </p:cNvPr>
          <p:cNvSpPr txBox="1"/>
          <p:nvPr/>
        </p:nvSpPr>
        <p:spPr>
          <a:xfrm>
            <a:off x="9310863" y="1161114"/>
            <a:ext cx="385737" cy="688256"/>
          </a:xfrm>
          <a:prstGeom prst="rect">
            <a:avLst/>
          </a:prstGeom>
          <a:noFill/>
        </p:spPr>
        <p:txBody>
          <a:bodyPr wrap="square" lIns="36000" tIns="36000" rIns="36000" bIns="36000" rtlCol="0" anchor="ctr">
            <a:spAutoFit/>
          </a:bodyPr>
          <a:lstStyle/>
          <a:p>
            <a:r>
              <a:rPr lang="en-US" sz="4000" b="1">
                <a:solidFill>
                  <a:schemeClr val="bg1"/>
                </a:solidFill>
              </a:rPr>
              <a:t>3</a:t>
            </a:r>
          </a:p>
        </p:txBody>
      </p:sp>
      <p:sp>
        <p:nvSpPr>
          <p:cNvPr id="69" name="Rectangle 68">
            <a:extLst>
              <a:ext uri="{FF2B5EF4-FFF2-40B4-BE49-F238E27FC236}">
                <a16:creationId xmlns:a16="http://schemas.microsoft.com/office/drawing/2014/main" id="{17F6E4FF-ED83-734F-960B-58D5D280E47C}"/>
              </a:ext>
            </a:extLst>
          </p:cNvPr>
          <p:cNvSpPr/>
          <p:nvPr/>
        </p:nvSpPr>
        <p:spPr>
          <a:xfrm>
            <a:off x="5007194" y="2195872"/>
            <a:ext cx="2624432" cy="276999"/>
          </a:xfrm>
          <a:prstGeom prst="rect">
            <a:avLst/>
          </a:prstGeom>
        </p:spPr>
        <p:txBody>
          <a:bodyPr wrap="square" lIns="0" tIns="0" rIns="0" bIns="0">
            <a:spAutoFit/>
          </a:bodyPr>
          <a:lstStyle/>
          <a:p>
            <a:r>
              <a:rPr lang="en-US" b="1">
                <a:solidFill>
                  <a:srgbClr val="000000"/>
                </a:solidFill>
              </a:rPr>
              <a:t>Recommendation 2</a:t>
            </a:r>
          </a:p>
        </p:txBody>
      </p:sp>
      <p:sp>
        <p:nvSpPr>
          <p:cNvPr id="70" name="Rectangle 69">
            <a:extLst>
              <a:ext uri="{FF2B5EF4-FFF2-40B4-BE49-F238E27FC236}">
                <a16:creationId xmlns:a16="http://schemas.microsoft.com/office/drawing/2014/main" id="{9CBB027C-82D5-804B-863B-B3A06C16DA62}"/>
              </a:ext>
            </a:extLst>
          </p:cNvPr>
          <p:cNvSpPr/>
          <p:nvPr/>
        </p:nvSpPr>
        <p:spPr>
          <a:xfrm>
            <a:off x="8903138" y="2197910"/>
            <a:ext cx="2589288" cy="276999"/>
          </a:xfrm>
          <a:prstGeom prst="rect">
            <a:avLst/>
          </a:prstGeom>
        </p:spPr>
        <p:txBody>
          <a:bodyPr wrap="square" lIns="0" tIns="0" rIns="0" bIns="0">
            <a:spAutoFit/>
          </a:bodyPr>
          <a:lstStyle/>
          <a:p>
            <a:r>
              <a:rPr lang="en-US" b="1">
                <a:solidFill>
                  <a:srgbClr val="000000"/>
                </a:solidFill>
              </a:rPr>
              <a:t>Recommendation 3</a:t>
            </a:r>
            <a:endParaRPr lang="en-US">
              <a:solidFill>
                <a:srgbClr val="000000"/>
              </a:solidFill>
            </a:endParaRPr>
          </a:p>
        </p:txBody>
      </p:sp>
      <p:sp>
        <p:nvSpPr>
          <p:cNvPr id="71" name="Arc 70">
            <a:extLst>
              <a:ext uri="{FF2B5EF4-FFF2-40B4-BE49-F238E27FC236}">
                <a16:creationId xmlns:a16="http://schemas.microsoft.com/office/drawing/2014/main" id="{E50C8F51-87C2-3B4B-9972-0A74BE3231FF}"/>
              </a:ext>
            </a:extLst>
          </p:cNvPr>
          <p:cNvSpPr/>
          <p:nvPr/>
        </p:nvSpPr>
        <p:spPr>
          <a:xfrm rot="6739027">
            <a:off x="4612899" y="1065576"/>
            <a:ext cx="617932" cy="608660"/>
          </a:xfrm>
          <a:prstGeom prst="arc">
            <a:avLst>
              <a:gd name="adj1" fmla="val 15382243"/>
              <a:gd name="adj2" fmla="val 1177101"/>
            </a:avLst>
          </a:prstGeom>
          <a:solidFill>
            <a:srgbClr val="53565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Arc 71">
            <a:extLst>
              <a:ext uri="{FF2B5EF4-FFF2-40B4-BE49-F238E27FC236}">
                <a16:creationId xmlns:a16="http://schemas.microsoft.com/office/drawing/2014/main" id="{FD03E786-8874-3D40-A781-5CED8D9EAF21}"/>
              </a:ext>
            </a:extLst>
          </p:cNvPr>
          <p:cNvSpPr/>
          <p:nvPr/>
        </p:nvSpPr>
        <p:spPr>
          <a:xfrm rot="6739027">
            <a:off x="737859" y="1078276"/>
            <a:ext cx="617932" cy="608660"/>
          </a:xfrm>
          <a:prstGeom prst="arc">
            <a:avLst>
              <a:gd name="adj1" fmla="val 15382243"/>
              <a:gd name="adj2" fmla="val 1177101"/>
            </a:avLst>
          </a:prstGeom>
          <a:solidFill>
            <a:srgbClr val="43B02A"/>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Arc 72">
            <a:extLst>
              <a:ext uri="{FF2B5EF4-FFF2-40B4-BE49-F238E27FC236}">
                <a16:creationId xmlns:a16="http://schemas.microsoft.com/office/drawing/2014/main" id="{F9D03C20-CB3D-354D-B4DA-7DBF3AA40098}"/>
              </a:ext>
            </a:extLst>
          </p:cNvPr>
          <p:cNvSpPr/>
          <p:nvPr/>
        </p:nvSpPr>
        <p:spPr>
          <a:xfrm rot="6739027">
            <a:off x="8467176" y="1065725"/>
            <a:ext cx="617932" cy="608660"/>
          </a:xfrm>
          <a:prstGeom prst="arc">
            <a:avLst>
              <a:gd name="adj1" fmla="val 15382243"/>
              <a:gd name="adj2" fmla="val 1177101"/>
            </a:avLst>
          </a:prstGeom>
          <a:solidFill>
            <a:srgbClr val="86BC25"/>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Straight Arrow Connector 73">
            <a:extLst>
              <a:ext uri="{FF2B5EF4-FFF2-40B4-BE49-F238E27FC236}">
                <a16:creationId xmlns:a16="http://schemas.microsoft.com/office/drawing/2014/main" id="{7FCFA17D-F7A4-7E4C-BEF0-59992BE78D25}"/>
              </a:ext>
            </a:extLst>
          </p:cNvPr>
          <p:cNvCxnSpPr/>
          <p:nvPr/>
        </p:nvCxnSpPr>
        <p:spPr>
          <a:xfrm flipH="1">
            <a:off x="979752" y="1938035"/>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D11C47E3-DCF6-BB42-872A-F154F912F2B7}"/>
              </a:ext>
            </a:extLst>
          </p:cNvPr>
          <p:cNvCxnSpPr/>
          <p:nvPr/>
        </p:nvCxnSpPr>
        <p:spPr>
          <a:xfrm flipH="1">
            <a:off x="4867493" y="1938035"/>
            <a:ext cx="4732" cy="3237506"/>
          </a:xfrm>
          <a:prstGeom prst="straightConnector1">
            <a:avLst/>
          </a:prstGeom>
          <a:ln>
            <a:solidFill>
              <a:srgbClr val="00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7C14C6C-BAE5-EC4E-B979-C3B4BC7D4D4C}"/>
              </a:ext>
            </a:extLst>
          </p:cNvPr>
          <p:cNvCxnSpPr/>
          <p:nvPr/>
        </p:nvCxnSpPr>
        <p:spPr>
          <a:xfrm flipH="1">
            <a:off x="8739233" y="1938036"/>
            <a:ext cx="4732" cy="3237506"/>
          </a:xfrm>
          <a:prstGeom prst="straightConnector1">
            <a:avLst/>
          </a:prstGeom>
          <a:ln>
            <a:solidFill>
              <a:srgbClr val="43B02A"/>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214826" y="2476469"/>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Here are the top 3 recommendations we have found after doing thorough research</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rPr>
              <a:t>Re</a:t>
            </a:r>
          </a:p>
        </p:txBody>
      </p:sp>
    </p:spTree>
    <p:extLst>
      <p:ext uri="{BB962C8B-B14F-4D97-AF65-F5344CB8AC3E}">
        <p14:creationId xmlns:p14="http://schemas.microsoft.com/office/powerpoint/2010/main" val="2925827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TextBox 63">
            <a:extLst>
              <a:ext uri="{FF2B5EF4-FFF2-40B4-BE49-F238E27FC236}">
                <a16:creationId xmlns:a16="http://schemas.microsoft.com/office/drawing/2014/main" id="{69B3B131-4158-4BA8-AEC0-2C8B1306DEC6}"/>
              </a:ext>
            </a:extLst>
          </p:cNvPr>
          <p:cNvSpPr txBox="1"/>
          <p:nvPr/>
        </p:nvSpPr>
        <p:spPr>
          <a:xfrm>
            <a:off x="6235024" y="4773245"/>
            <a:ext cx="5260290" cy="1107996"/>
          </a:xfrm>
          <a:prstGeom prst="rect">
            <a:avLst/>
          </a:prstGeom>
          <a:noFill/>
        </p:spPr>
        <p:txBody>
          <a:bodyPr wrap="square" lIns="0" tIns="0" rIns="0" bIns="0" rtlCol="0" anchor="ctr">
            <a:spAutoFit/>
          </a:bodyPr>
          <a:lstStyle/>
          <a:p>
            <a:pPr marL="0" marR="0" lvl="0" indent="0" defTabSz="705561" eaLnBrk="1" fontAlgn="auto" latinLnBrk="0" hangingPunct="1">
              <a:lnSpc>
                <a:spcPct val="100000"/>
              </a:lnSpc>
              <a:spcBef>
                <a:spcPts val="0"/>
              </a:spcBef>
              <a:spcAft>
                <a:spcPts val="0"/>
              </a:spcAft>
              <a:buClrTx/>
              <a:buSzTx/>
              <a:buFontTx/>
              <a:buNone/>
              <a:tabLst/>
              <a:defRPr/>
            </a:pPr>
            <a:r>
              <a:rPr kumimoji="0" lang="en-US" altLang="zh-CN" b="1" i="0" u="none" strike="noStrike" kern="0" cap="none" spc="0" normalizeH="0" baseline="0" noProof="0">
                <a:ln>
                  <a:noFill/>
                </a:ln>
                <a:solidFill>
                  <a:srgbClr val="000000"/>
                </a:solidFill>
                <a:effectLst/>
                <a:uLnTx/>
                <a:uFillTx/>
                <a:sym typeface="Arial" panose="020B0604020202020204" pitchFamily="34" charset="0"/>
              </a:rPr>
              <a:t>Conclusion: </a:t>
            </a:r>
            <a:r>
              <a:rPr kumimoji="0" lang="en-US" altLang="zh-CN" b="0" i="0" u="none" strike="noStrike" kern="0" cap="none" spc="0" normalizeH="0" baseline="0" noProof="0">
                <a:ln>
                  <a:noFill/>
                </a:ln>
                <a:solidFill>
                  <a:srgbClr val="000000"/>
                </a:solidFill>
                <a:effectLst/>
                <a:uLnTx/>
                <a:uFillTx/>
                <a:sym typeface="Arial" panose="020B0604020202020204" pitchFamily="34" charset="0"/>
              </a:rPr>
              <a:t>Since our probability level is lower than our significance level, we can reject our null hypothesis and assume movies in the music genre have higher average ratings than movies in other genres. </a:t>
            </a:r>
          </a:p>
        </p:txBody>
      </p:sp>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698" cy="45805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Null Hypothesis: Movies that fall in </a:t>
            </a:r>
            <a:r>
              <a:rPr kumimoji="0" lang="en-US" sz="1800" b="0" i="0" u="none" strike="noStrike" kern="1200" cap="none" spc="0" normalizeH="0" baseline="0" noProof="0" err="1">
                <a:ln>
                  <a:noFill/>
                </a:ln>
                <a:solidFill>
                  <a:srgbClr val="575757"/>
                </a:solidFill>
                <a:effectLst/>
                <a:uLnTx/>
                <a:uFillTx/>
                <a:latin typeface="Calibri"/>
                <a:ea typeface="+mn-ea"/>
                <a:cs typeface="Calibri Light" panose="020F0302020204030204" pitchFamily="34" charset="0"/>
              </a:rPr>
              <a:t>th</a:t>
            </a:r>
            <a:r>
              <a:rPr lang="en-US">
                <a:latin typeface="Calibri"/>
              </a:rPr>
              <a:t>e music genre do not have higher average ratings than movies in other genres.</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atin typeface="Calibri"/>
              </a:rPr>
              <a:t>Alternative Hypothesis: Movies that fall in the music genre have significantly higher average ratings compared to movies in other genres.</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rPr>
              <a:t>Hypothesis Test</a:t>
            </a:r>
          </a:p>
        </p:txBody>
      </p:sp>
      <p:grpSp>
        <p:nvGrpSpPr>
          <p:cNvPr id="17" name="Group 14">
            <a:extLst>
              <a:ext uri="{FF2B5EF4-FFF2-40B4-BE49-F238E27FC236}">
                <a16:creationId xmlns:a16="http://schemas.microsoft.com/office/drawing/2014/main" id="{05945F6D-B3E3-4CFE-8B55-E54306801725}"/>
              </a:ext>
            </a:extLst>
          </p:cNvPr>
          <p:cNvGrpSpPr/>
          <p:nvPr/>
        </p:nvGrpSpPr>
        <p:grpSpPr>
          <a:xfrm>
            <a:off x="469900" y="2020744"/>
            <a:ext cx="2326617" cy="3220853"/>
            <a:chOff x="580606" y="1131575"/>
            <a:chExt cx="2339350" cy="3238299"/>
          </a:xfrm>
          <a:solidFill>
            <a:sysClr val="window" lastClr="FFFFFF"/>
          </a:solidFill>
        </p:grpSpPr>
        <p:sp>
          <p:nvSpPr>
            <p:cNvPr id="18" name="Freeform 90">
              <a:extLst>
                <a:ext uri="{FF2B5EF4-FFF2-40B4-BE49-F238E27FC236}">
                  <a16:creationId xmlns:a16="http://schemas.microsoft.com/office/drawing/2014/main" id="{8B15BB18-D177-41D1-9314-548360F2F80F}"/>
                </a:ext>
              </a:extLst>
            </p:cNvPr>
            <p:cNvSpPr>
              <a:spLocks noEditPoints="1"/>
            </p:cNvSpPr>
            <p:nvPr/>
          </p:nvSpPr>
          <p:spPr bwMode="auto">
            <a:xfrm flipH="1">
              <a:off x="639484" y="1131575"/>
              <a:ext cx="2280472" cy="3099394"/>
            </a:xfrm>
            <a:custGeom>
              <a:avLst/>
              <a:gdLst/>
              <a:ahLst/>
              <a:cxnLst>
                <a:cxn ang="0">
                  <a:pos x="130" y="294"/>
                </a:cxn>
                <a:cxn ang="0">
                  <a:pos x="109" y="255"/>
                </a:cxn>
                <a:cxn ang="0">
                  <a:pos x="37" y="183"/>
                </a:cxn>
                <a:cxn ang="0">
                  <a:pos x="1" y="138"/>
                </a:cxn>
                <a:cxn ang="0">
                  <a:pos x="14" y="128"/>
                </a:cxn>
                <a:cxn ang="0">
                  <a:pos x="38" y="134"/>
                </a:cxn>
                <a:cxn ang="0">
                  <a:pos x="60" y="153"/>
                </a:cxn>
                <a:cxn ang="0">
                  <a:pos x="79" y="174"/>
                </a:cxn>
                <a:cxn ang="0">
                  <a:pos x="118" y="164"/>
                </a:cxn>
                <a:cxn ang="0">
                  <a:pos x="66" y="114"/>
                </a:cxn>
                <a:cxn ang="0">
                  <a:pos x="47" y="107"/>
                </a:cxn>
                <a:cxn ang="0">
                  <a:pos x="10" y="92"/>
                </a:cxn>
                <a:cxn ang="0">
                  <a:pos x="10" y="86"/>
                </a:cxn>
                <a:cxn ang="0">
                  <a:pos x="10" y="85"/>
                </a:cxn>
                <a:cxn ang="0">
                  <a:pos x="10" y="81"/>
                </a:cxn>
                <a:cxn ang="0">
                  <a:pos x="18" y="80"/>
                </a:cxn>
                <a:cxn ang="0">
                  <a:pos x="34" y="81"/>
                </a:cxn>
                <a:cxn ang="0">
                  <a:pos x="79" y="87"/>
                </a:cxn>
                <a:cxn ang="0">
                  <a:pos x="92" y="90"/>
                </a:cxn>
                <a:cxn ang="0">
                  <a:pos x="77" y="81"/>
                </a:cxn>
                <a:cxn ang="0">
                  <a:pos x="61" y="68"/>
                </a:cxn>
                <a:cxn ang="0">
                  <a:pos x="50" y="65"/>
                </a:cxn>
                <a:cxn ang="0">
                  <a:pos x="24" y="34"/>
                </a:cxn>
                <a:cxn ang="0">
                  <a:pos x="25" y="32"/>
                </a:cxn>
                <a:cxn ang="0">
                  <a:pos x="27" y="28"/>
                </a:cxn>
                <a:cxn ang="0">
                  <a:pos x="83" y="49"/>
                </a:cxn>
                <a:cxn ang="0">
                  <a:pos x="109" y="63"/>
                </a:cxn>
                <a:cxn ang="0">
                  <a:pos x="109" y="63"/>
                </a:cxn>
                <a:cxn ang="0">
                  <a:pos x="98" y="48"/>
                </a:cxn>
                <a:cxn ang="0">
                  <a:pos x="71" y="21"/>
                </a:cxn>
                <a:cxn ang="0">
                  <a:pos x="72" y="6"/>
                </a:cxn>
                <a:cxn ang="0">
                  <a:pos x="79" y="3"/>
                </a:cxn>
                <a:cxn ang="0">
                  <a:pos x="80" y="2"/>
                </a:cxn>
                <a:cxn ang="0">
                  <a:pos x="83" y="1"/>
                </a:cxn>
                <a:cxn ang="0">
                  <a:pos x="144" y="53"/>
                </a:cxn>
                <a:cxn ang="0">
                  <a:pos x="149" y="59"/>
                </a:cxn>
                <a:cxn ang="0">
                  <a:pos x="147" y="56"/>
                </a:cxn>
                <a:cxn ang="0">
                  <a:pos x="139" y="24"/>
                </a:cxn>
                <a:cxn ang="0">
                  <a:pos x="151" y="17"/>
                </a:cxn>
                <a:cxn ang="0">
                  <a:pos x="154" y="18"/>
                </a:cxn>
                <a:cxn ang="0">
                  <a:pos x="160" y="29"/>
                </a:cxn>
                <a:cxn ang="0">
                  <a:pos x="163" y="37"/>
                </a:cxn>
                <a:cxn ang="0">
                  <a:pos x="187" y="76"/>
                </a:cxn>
                <a:cxn ang="0">
                  <a:pos x="197" y="108"/>
                </a:cxn>
                <a:cxn ang="0">
                  <a:pos x="220" y="299"/>
                </a:cxn>
                <a:cxn ang="0">
                  <a:pos x="132" y="299"/>
                </a:cxn>
              </a:cxnLst>
              <a:rect l="0" t="0" r="r" b="b"/>
              <a:pathLst>
                <a:path w="220" h="299">
                  <a:moveTo>
                    <a:pt x="132" y="299"/>
                  </a:moveTo>
                  <a:cubicBezTo>
                    <a:pt x="131" y="297"/>
                    <a:pt x="131" y="295"/>
                    <a:pt x="130" y="294"/>
                  </a:cubicBezTo>
                  <a:cubicBezTo>
                    <a:pt x="130" y="292"/>
                    <a:pt x="129" y="291"/>
                    <a:pt x="128" y="289"/>
                  </a:cubicBezTo>
                  <a:cubicBezTo>
                    <a:pt x="128" y="289"/>
                    <a:pt x="120" y="262"/>
                    <a:pt x="109" y="255"/>
                  </a:cubicBezTo>
                  <a:cubicBezTo>
                    <a:pt x="95" y="247"/>
                    <a:pt x="86" y="239"/>
                    <a:pt x="86" y="239"/>
                  </a:cubicBezTo>
                  <a:cubicBezTo>
                    <a:pt x="86" y="239"/>
                    <a:pt x="46" y="202"/>
                    <a:pt x="37" y="183"/>
                  </a:cubicBezTo>
                  <a:cubicBezTo>
                    <a:pt x="25" y="160"/>
                    <a:pt x="4" y="144"/>
                    <a:pt x="4" y="144"/>
                  </a:cubicBezTo>
                  <a:cubicBezTo>
                    <a:pt x="3" y="142"/>
                    <a:pt x="1" y="139"/>
                    <a:pt x="1" y="138"/>
                  </a:cubicBezTo>
                  <a:cubicBezTo>
                    <a:pt x="0" y="135"/>
                    <a:pt x="3" y="136"/>
                    <a:pt x="5" y="134"/>
                  </a:cubicBezTo>
                  <a:cubicBezTo>
                    <a:pt x="7" y="131"/>
                    <a:pt x="10" y="128"/>
                    <a:pt x="14" y="128"/>
                  </a:cubicBezTo>
                  <a:cubicBezTo>
                    <a:pt x="14" y="128"/>
                    <a:pt x="23" y="127"/>
                    <a:pt x="30" y="130"/>
                  </a:cubicBezTo>
                  <a:cubicBezTo>
                    <a:pt x="33" y="132"/>
                    <a:pt x="35" y="133"/>
                    <a:pt x="38" y="134"/>
                  </a:cubicBezTo>
                  <a:cubicBezTo>
                    <a:pt x="38" y="134"/>
                    <a:pt x="49" y="140"/>
                    <a:pt x="56" y="149"/>
                  </a:cubicBezTo>
                  <a:cubicBezTo>
                    <a:pt x="57" y="150"/>
                    <a:pt x="58" y="152"/>
                    <a:pt x="60" y="153"/>
                  </a:cubicBezTo>
                  <a:cubicBezTo>
                    <a:pt x="60" y="154"/>
                    <a:pt x="60" y="154"/>
                    <a:pt x="61" y="155"/>
                  </a:cubicBezTo>
                  <a:cubicBezTo>
                    <a:pt x="63" y="158"/>
                    <a:pt x="78" y="174"/>
                    <a:pt x="79" y="174"/>
                  </a:cubicBezTo>
                  <a:cubicBezTo>
                    <a:pt x="80" y="176"/>
                    <a:pt x="87" y="182"/>
                    <a:pt x="94" y="182"/>
                  </a:cubicBezTo>
                  <a:cubicBezTo>
                    <a:pt x="118" y="182"/>
                    <a:pt x="120" y="167"/>
                    <a:pt x="118" y="164"/>
                  </a:cubicBezTo>
                  <a:cubicBezTo>
                    <a:pt x="118" y="163"/>
                    <a:pt x="113" y="149"/>
                    <a:pt x="105" y="142"/>
                  </a:cubicBezTo>
                  <a:cubicBezTo>
                    <a:pt x="94" y="131"/>
                    <a:pt x="79" y="118"/>
                    <a:pt x="66" y="114"/>
                  </a:cubicBezTo>
                  <a:cubicBezTo>
                    <a:pt x="61" y="113"/>
                    <a:pt x="56" y="111"/>
                    <a:pt x="53" y="108"/>
                  </a:cubicBezTo>
                  <a:cubicBezTo>
                    <a:pt x="51" y="107"/>
                    <a:pt x="50" y="107"/>
                    <a:pt x="47" y="107"/>
                  </a:cubicBezTo>
                  <a:cubicBezTo>
                    <a:pt x="35" y="106"/>
                    <a:pt x="17" y="98"/>
                    <a:pt x="17" y="98"/>
                  </a:cubicBezTo>
                  <a:cubicBezTo>
                    <a:pt x="14" y="97"/>
                    <a:pt x="11" y="93"/>
                    <a:pt x="10" y="92"/>
                  </a:cubicBezTo>
                  <a:cubicBezTo>
                    <a:pt x="10" y="92"/>
                    <a:pt x="10" y="92"/>
                    <a:pt x="10" y="91"/>
                  </a:cubicBezTo>
                  <a:cubicBezTo>
                    <a:pt x="9" y="90"/>
                    <a:pt x="9" y="88"/>
                    <a:pt x="10" y="86"/>
                  </a:cubicBezTo>
                  <a:cubicBezTo>
                    <a:pt x="10" y="86"/>
                    <a:pt x="10" y="85"/>
                    <a:pt x="10" y="85"/>
                  </a:cubicBezTo>
                  <a:cubicBezTo>
                    <a:pt x="10" y="85"/>
                    <a:pt x="10" y="85"/>
                    <a:pt x="10" y="85"/>
                  </a:cubicBezTo>
                  <a:cubicBezTo>
                    <a:pt x="10" y="84"/>
                    <a:pt x="9" y="84"/>
                    <a:pt x="9" y="83"/>
                  </a:cubicBezTo>
                  <a:cubicBezTo>
                    <a:pt x="9" y="82"/>
                    <a:pt x="10" y="82"/>
                    <a:pt x="10" y="81"/>
                  </a:cubicBezTo>
                  <a:cubicBezTo>
                    <a:pt x="11" y="81"/>
                    <a:pt x="12" y="81"/>
                    <a:pt x="13" y="81"/>
                  </a:cubicBezTo>
                  <a:cubicBezTo>
                    <a:pt x="15" y="80"/>
                    <a:pt x="17" y="80"/>
                    <a:pt x="18" y="80"/>
                  </a:cubicBezTo>
                  <a:cubicBezTo>
                    <a:pt x="22" y="80"/>
                    <a:pt x="26" y="80"/>
                    <a:pt x="29" y="80"/>
                  </a:cubicBezTo>
                  <a:cubicBezTo>
                    <a:pt x="31" y="81"/>
                    <a:pt x="32" y="81"/>
                    <a:pt x="34" y="81"/>
                  </a:cubicBezTo>
                  <a:cubicBezTo>
                    <a:pt x="34" y="81"/>
                    <a:pt x="43" y="80"/>
                    <a:pt x="45" y="80"/>
                  </a:cubicBezTo>
                  <a:cubicBezTo>
                    <a:pt x="45" y="80"/>
                    <a:pt x="77" y="87"/>
                    <a:pt x="79" y="87"/>
                  </a:cubicBezTo>
                  <a:cubicBezTo>
                    <a:pt x="80" y="87"/>
                    <a:pt x="85" y="89"/>
                    <a:pt x="85" y="89"/>
                  </a:cubicBezTo>
                  <a:cubicBezTo>
                    <a:pt x="86" y="89"/>
                    <a:pt x="89" y="90"/>
                    <a:pt x="92" y="90"/>
                  </a:cubicBezTo>
                  <a:cubicBezTo>
                    <a:pt x="92" y="90"/>
                    <a:pt x="92" y="90"/>
                    <a:pt x="92" y="90"/>
                  </a:cubicBezTo>
                  <a:cubicBezTo>
                    <a:pt x="92" y="90"/>
                    <a:pt x="79" y="82"/>
                    <a:pt x="77" y="81"/>
                  </a:cubicBezTo>
                  <a:cubicBezTo>
                    <a:pt x="76" y="80"/>
                    <a:pt x="75" y="80"/>
                    <a:pt x="74" y="79"/>
                  </a:cubicBezTo>
                  <a:cubicBezTo>
                    <a:pt x="72" y="78"/>
                    <a:pt x="62" y="69"/>
                    <a:pt x="61" y="68"/>
                  </a:cubicBezTo>
                  <a:cubicBezTo>
                    <a:pt x="59" y="68"/>
                    <a:pt x="57" y="67"/>
                    <a:pt x="55" y="66"/>
                  </a:cubicBezTo>
                  <a:cubicBezTo>
                    <a:pt x="54" y="66"/>
                    <a:pt x="51" y="65"/>
                    <a:pt x="50" y="65"/>
                  </a:cubicBezTo>
                  <a:cubicBezTo>
                    <a:pt x="50" y="65"/>
                    <a:pt x="43" y="62"/>
                    <a:pt x="43" y="62"/>
                  </a:cubicBezTo>
                  <a:cubicBezTo>
                    <a:pt x="23" y="54"/>
                    <a:pt x="23" y="37"/>
                    <a:pt x="24" y="34"/>
                  </a:cubicBezTo>
                  <a:cubicBezTo>
                    <a:pt x="24" y="33"/>
                    <a:pt x="24" y="32"/>
                    <a:pt x="25" y="32"/>
                  </a:cubicBezTo>
                  <a:cubicBezTo>
                    <a:pt x="25" y="32"/>
                    <a:pt x="25" y="32"/>
                    <a:pt x="25" y="32"/>
                  </a:cubicBezTo>
                  <a:cubicBezTo>
                    <a:pt x="25" y="31"/>
                    <a:pt x="25" y="31"/>
                    <a:pt x="25" y="30"/>
                  </a:cubicBezTo>
                  <a:cubicBezTo>
                    <a:pt x="26" y="28"/>
                    <a:pt x="27" y="28"/>
                    <a:pt x="27" y="28"/>
                  </a:cubicBezTo>
                  <a:cubicBezTo>
                    <a:pt x="27" y="28"/>
                    <a:pt x="55" y="37"/>
                    <a:pt x="56" y="37"/>
                  </a:cubicBezTo>
                  <a:cubicBezTo>
                    <a:pt x="83" y="49"/>
                    <a:pt x="83" y="49"/>
                    <a:pt x="83" y="49"/>
                  </a:cubicBezTo>
                  <a:cubicBezTo>
                    <a:pt x="92" y="53"/>
                    <a:pt x="102" y="59"/>
                    <a:pt x="103" y="59"/>
                  </a:cubicBezTo>
                  <a:cubicBezTo>
                    <a:pt x="105" y="61"/>
                    <a:pt x="107" y="62"/>
                    <a:pt x="109" y="63"/>
                  </a:cubicBezTo>
                  <a:cubicBezTo>
                    <a:pt x="109" y="63"/>
                    <a:pt x="109" y="63"/>
                    <a:pt x="109" y="63"/>
                  </a:cubicBezTo>
                  <a:cubicBezTo>
                    <a:pt x="109" y="63"/>
                    <a:pt x="109" y="63"/>
                    <a:pt x="109" y="63"/>
                  </a:cubicBezTo>
                  <a:cubicBezTo>
                    <a:pt x="109" y="63"/>
                    <a:pt x="106" y="54"/>
                    <a:pt x="98" y="48"/>
                  </a:cubicBezTo>
                  <a:cubicBezTo>
                    <a:pt x="98" y="48"/>
                    <a:pt x="98" y="48"/>
                    <a:pt x="98" y="48"/>
                  </a:cubicBezTo>
                  <a:cubicBezTo>
                    <a:pt x="98" y="48"/>
                    <a:pt x="80" y="34"/>
                    <a:pt x="80" y="34"/>
                  </a:cubicBezTo>
                  <a:cubicBezTo>
                    <a:pt x="74" y="28"/>
                    <a:pt x="71" y="22"/>
                    <a:pt x="71" y="21"/>
                  </a:cubicBezTo>
                  <a:cubicBezTo>
                    <a:pt x="71" y="21"/>
                    <a:pt x="71" y="21"/>
                    <a:pt x="71" y="21"/>
                  </a:cubicBezTo>
                  <a:cubicBezTo>
                    <a:pt x="69" y="15"/>
                    <a:pt x="69" y="10"/>
                    <a:pt x="72" y="6"/>
                  </a:cubicBezTo>
                  <a:cubicBezTo>
                    <a:pt x="72" y="6"/>
                    <a:pt x="75" y="2"/>
                    <a:pt x="79" y="3"/>
                  </a:cubicBezTo>
                  <a:cubicBezTo>
                    <a:pt x="79" y="3"/>
                    <a:pt x="79" y="3"/>
                    <a:pt x="79" y="3"/>
                  </a:cubicBezTo>
                  <a:cubicBezTo>
                    <a:pt x="79" y="2"/>
                    <a:pt x="80" y="2"/>
                    <a:pt x="80" y="2"/>
                  </a:cubicBezTo>
                  <a:cubicBezTo>
                    <a:pt x="80" y="2"/>
                    <a:pt x="80" y="2"/>
                    <a:pt x="80" y="2"/>
                  </a:cubicBezTo>
                  <a:cubicBezTo>
                    <a:pt x="80" y="1"/>
                    <a:pt x="81" y="0"/>
                    <a:pt x="82" y="0"/>
                  </a:cubicBezTo>
                  <a:cubicBezTo>
                    <a:pt x="82" y="0"/>
                    <a:pt x="82" y="0"/>
                    <a:pt x="83" y="1"/>
                  </a:cubicBezTo>
                  <a:cubicBezTo>
                    <a:pt x="134" y="43"/>
                    <a:pt x="134" y="43"/>
                    <a:pt x="134" y="43"/>
                  </a:cubicBezTo>
                  <a:cubicBezTo>
                    <a:pt x="137" y="46"/>
                    <a:pt x="141" y="49"/>
                    <a:pt x="144" y="53"/>
                  </a:cubicBezTo>
                  <a:cubicBezTo>
                    <a:pt x="145" y="55"/>
                    <a:pt x="146" y="56"/>
                    <a:pt x="148" y="57"/>
                  </a:cubicBezTo>
                  <a:cubicBezTo>
                    <a:pt x="148" y="58"/>
                    <a:pt x="149" y="58"/>
                    <a:pt x="149" y="59"/>
                  </a:cubicBezTo>
                  <a:cubicBezTo>
                    <a:pt x="149" y="59"/>
                    <a:pt x="149" y="59"/>
                    <a:pt x="149" y="59"/>
                  </a:cubicBezTo>
                  <a:cubicBezTo>
                    <a:pt x="149" y="58"/>
                    <a:pt x="148" y="57"/>
                    <a:pt x="147" y="56"/>
                  </a:cubicBezTo>
                  <a:cubicBezTo>
                    <a:pt x="146" y="54"/>
                    <a:pt x="145" y="53"/>
                    <a:pt x="144" y="51"/>
                  </a:cubicBezTo>
                  <a:cubicBezTo>
                    <a:pt x="138" y="39"/>
                    <a:pt x="137" y="28"/>
                    <a:pt x="139" y="24"/>
                  </a:cubicBezTo>
                  <a:cubicBezTo>
                    <a:pt x="141" y="22"/>
                    <a:pt x="143" y="19"/>
                    <a:pt x="148" y="17"/>
                  </a:cubicBezTo>
                  <a:cubicBezTo>
                    <a:pt x="149" y="17"/>
                    <a:pt x="150" y="17"/>
                    <a:pt x="151" y="17"/>
                  </a:cubicBezTo>
                  <a:cubicBezTo>
                    <a:pt x="151" y="16"/>
                    <a:pt x="152" y="16"/>
                    <a:pt x="152" y="16"/>
                  </a:cubicBezTo>
                  <a:cubicBezTo>
                    <a:pt x="153" y="16"/>
                    <a:pt x="153" y="17"/>
                    <a:pt x="154" y="18"/>
                  </a:cubicBezTo>
                  <a:cubicBezTo>
                    <a:pt x="155" y="20"/>
                    <a:pt x="156" y="22"/>
                    <a:pt x="157" y="24"/>
                  </a:cubicBezTo>
                  <a:cubicBezTo>
                    <a:pt x="158" y="26"/>
                    <a:pt x="159" y="28"/>
                    <a:pt x="160" y="29"/>
                  </a:cubicBezTo>
                  <a:cubicBezTo>
                    <a:pt x="160" y="30"/>
                    <a:pt x="160" y="31"/>
                    <a:pt x="161" y="32"/>
                  </a:cubicBezTo>
                  <a:cubicBezTo>
                    <a:pt x="161" y="34"/>
                    <a:pt x="162" y="36"/>
                    <a:pt x="163" y="37"/>
                  </a:cubicBezTo>
                  <a:cubicBezTo>
                    <a:pt x="163" y="37"/>
                    <a:pt x="176" y="54"/>
                    <a:pt x="182" y="66"/>
                  </a:cubicBezTo>
                  <a:cubicBezTo>
                    <a:pt x="183" y="68"/>
                    <a:pt x="186" y="75"/>
                    <a:pt x="187" y="76"/>
                  </a:cubicBezTo>
                  <a:cubicBezTo>
                    <a:pt x="187" y="77"/>
                    <a:pt x="187" y="77"/>
                    <a:pt x="187" y="77"/>
                  </a:cubicBezTo>
                  <a:cubicBezTo>
                    <a:pt x="196" y="93"/>
                    <a:pt x="197" y="107"/>
                    <a:pt x="197" y="108"/>
                  </a:cubicBezTo>
                  <a:cubicBezTo>
                    <a:pt x="197" y="108"/>
                    <a:pt x="205" y="226"/>
                    <a:pt x="210" y="254"/>
                  </a:cubicBezTo>
                  <a:cubicBezTo>
                    <a:pt x="215" y="282"/>
                    <a:pt x="220" y="297"/>
                    <a:pt x="220" y="299"/>
                  </a:cubicBezTo>
                  <a:cubicBezTo>
                    <a:pt x="132" y="299"/>
                    <a:pt x="132" y="299"/>
                    <a:pt x="132" y="299"/>
                  </a:cubicBezTo>
                  <a:close/>
                  <a:moveTo>
                    <a:pt x="132" y="299"/>
                  </a:moveTo>
                  <a:cubicBezTo>
                    <a:pt x="132" y="299"/>
                    <a:pt x="132" y="299"/>
                    <a:pt x="132" y="299"/>
                  </a:cubicBezTo>
                </a:path>
              </a:pathLst>
            </a:custGeom>
            <a:grpFill/>
            <a:ln w="19050">
              <a:solidFill>
                <a:srgbClr val="000000"/>
              </a:solidFill>
              <a:round/>
              <a:headEnd/>
              <a:tailEnd/>
            </a:ln>
          </p:spPr>
          <p:txBody>
            <a:bodyPr vert="horz" wrap="square" lIns="99229" tIns="49615" rIns="99229" bIns="496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sym typeface="Arial" panose="020B0604020202020204" pitchFamily="34" charset="0"/>
              </a:endParaRPr>
            </a:p>
          </p:txBody>
        </p:sp>
        <p:sp>
          <p:nvSpPr>
            <p:cNvPr id="19" name="Rounded Rectangle 10">
              <a:extLst>
                <a:ext uri="{FF2B5EF4-FFF2-40B4-BE49-F238E27FC236}">
                  <a16:creationId xmlns:a16="http://schemas.microsoft.com/office/drawing/2014/main" id="{DE6BAC95-1961-4269-B00C-732FF6553C2C}"/>
                </a:ext>
              </a:extLst>
            </p:cNvPr>
            <p:cNvSpPr/>
            <p:nvPr/>
          </p:nvSpPr>
          <p:spPr>
            <a:xfrm>
              <a:off x="580606" y="4081839"/>
              <a:ext cx="1152140" cy="288035"/>
            </a:xfrm>
            <a:prstGeom prst="roundRect">
              <a:avLst/>
            </a:prstGeom>
            <a:grp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a:ea typeface="+mn-ea"/>
                <a:cs typeface="+mn-cs"/>
                <a:sym typeface="Arial" panose="020B0604020202020204" pitchFamily="34" charset="0"/>
              </a:endParaRPr>
            </a:p>
          </p:txBody>
        </p:sp>
      </p:grpSp>
      <p:grpSp>
        <p:nvGrpSpPr>
          <p:cNvPr id="20" name="Group 13">
            <a:extLst>
              <a:ext uri="{FF2B5EF4-FFF2-40B4-BE49-F238E27FC236}">
                <a16:creationId xmlns:a16="http://schemas.microsoft.com/office/drawing/2014/main" id="{488DAEFF-18B6-43AE-A55D-33143C358486}"/>
              </a:ext>
            </a:extLst>
          </p:cNvPr>
          <p:cNvGrpSpPr/>
          <p:nvPr/>
        </p:nvGrpSpPr>
        <p:grpSpPr>
          <a:xfrm rot="1521600">
            <a:off x="2346595" y="3068877"/>
            <a:ext cx="306720" cy="306738"/>
            <a:chOff x="3765502" y="2110894"/>
            <a:chExt cx="403249" cy="403249"/>
          </a:xfrm>
        </p:grpSpPr>
        <p:sp>
          <p:nvSpPr>
            <p:cNvPr id="21" name="Oval 11">
              <a:extLst>
                <a:ext uri="{FF2B5EF4-FFF2-40B4-BE49-F238E27FC236}">
                  <a16:creationId xmlns:a16="http://schemas.microsoft.com/office/drawing/2014/main" id="{8E102489-4733-420B-B575-AAC1F9FED34C}"/>
                </a:ext>
              </a:extLst>
            </p:cNvPr>
            <p:cNvSpPr/>
            <p:nvPr/>
          </p:nvSpPr>
          <p:spPr>
            <a:xfrm>
              <a:off x="3765502" y="2110894"/>
              <a:ext cx="403249" cy="403249"/>
            </a:xfrm>
            <a:prstGeom prst="ellipse">
              <a:avLst/>
            </a:prstGeom>
            <a:solidFill>
              <a:srgbClr val="000000"/>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a:ea typeface="+mn-ea"/>
                <a:cs typeface="+mn-cs"/>
                <a:sym typeface="Arial" panose="020B0604020202020204" pitchFamily="34" charset="0"/>
              </a:endParaRPr>
            </a:p>
          </p:txBody>
        </p:sp>
        <p:sp>
          <p:nvSpPr>
            <p:cNvPr id="22" name="Rounded Rectangle 12">
              <a:extLst>
                <a:ext uri="{FF2B5EF4-FFF2-40B4-BE49-F238E27FC236}">
                  <a16:creationId xmlns:a16="http://schemas.microsoft.com/office/drawing/2014/main" id="{7D0FB690-ED23-4F70-BCA5-ABEC17DF2CDA}"/>
                </a:ext>
              </a:extLst>
            </p:cNvPr>
            <p:cNvSpPr/>
            <p:nvPr/>
          </p:nvSpPr>
          <p:spPr>
            <a:xfrm>
              <a:off x="3938323" y="2110894"/>
              <a:ext cx="57607" cy="403249"/>
            </a:xfrm>
            <a:prstGeom prst="roundRect">
              <a:avLst/>
            </a:prstGeom>
            <a:solidFill>
              <a:sysClr val="window" lastClr="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a:ea typeface="+mn-ea"/>
                <a:cs typeface="+mn-cs"/>
                <a:sym typeface="Arial" panose="020B0604020202020204" pitchFamily="34" charset="0"/>
              </a:endParaRPr>
            </a:p>
          </p:txBody>
        </p:sp>
      </p:grpSp>
      <p:grpSp>
        <p:nvGrpSpPr>
          <p:cNvPr id="23" name="Group 19">
            <a:extLst>
              <a:ext uri="{FF2B5EF4-FFF2-40B4-BE49-F238E27FC236}">
                <a16:creationId xmlns:a16="http://schemas.microsoft.com/office/drawing/2014/main" id="{B3300688-1F0C-4149-A290-B87B3FE51DC2}"/>
              </a:ext>
            </a:extLst>
          </p:cNvPr>
          <p:cNvGrpSpPr/>
          <p:nvPr/>
        </p:nvGrpSpPr>
        <p:grpSpPr>
          <a:xfrm rot="10800000">
            <a:off x="5209604" y="4923644"/>
            <a:ext cx="115214" cy="635906"/>
            <a:chOff x="4514393" y="1036303"/>
            <a:chExt cx="115214" cy="1487365"/>
          </a:xfrm>
        </p:grpSpPr>
        <p:cxnSp>
          <p:nvCxnSpPr>
            <p:cNvPr id="24" name="Straight Connector 20">
              <a:extLst>
                <a:ext uri="{FF2B5EF4-FFF2-40B4-BE49-F238E27FC236}">
                  <a16:creationId xmlns:a16="http://schemas.microsoft.com/office/drawing/2014/main" id="{B35BD1A9-B202-4778-8D3C-DD8FD73C85D7}"/>
                </a:ext>
              </a:extLst>
            </p:cNvPr>
            <p:cNvCxnSpPr/>
            <p:nvPr/>
          </p:nvCxnSpPr>
          <p:spPr>
            <a:xfrm flipV="1">
              <a:off x="4629607" y="1041066"/>
              <a:ext cx="0" cy="1482602"/>
            </a:xfrm>
            <a:prstGeom prst="line">
              <a:avLst/>
            </a:prstGeom>
            <a:noFill/>
            <a:ln w="19050" cap="rnd" cmpd="sng" algn="ctr">
              <a:solidFill>
                <a:srgbClr val="26890D"/>
              </a:solidFill>
              <a:prstDash val="solid"/>
              <a:headEnd type="none"/>
              <a:tailEnd type="none"/>
            </a:ln>
            <a:effectLst/>
          </p:spPr>
        </p:cxnSp>
        <p:cxnSp>
          <p:nvCxnSpPr>
            <p:cNvPr id="25" name="Straight Connector 21">
              <a:extLst>
                <a:ext uri="{FF2B5EF4-FFF2-40B4-BE49-F238E27FC236}">
                  <a16:creationId xmlns:a16="http://schemas.microsoft.com/office/drawing/2014/main" id="{7100E6D8-30F0-41E0-82B3-95526AC930EF}"/>
                </a:ext>
              </a:extLst>
            </p:cNvPr>
            <p:cNvCxnSpPr/>
            <p:nvPr/>
          </p:nvCxnSpPr>
          <p:spPr>
            <a:xfrm flipH="1">
              <a:off x="4514393" y="1036303"/>
              <a:ext cx="115214" cy="0"/>
            </a:xfrm>
            <a:prstGeom prst="line">
              <a:avLst/>
            </a:prstGeom>
            <a:noFill/>
            <a:ln w="19050" cap="rnd" cmpd="sng" algn="ctr">
              <a:solidFill>
                <a:srgbClr val="26890D"/>
              </a:solidFill>
              <a:prstDash val="solid"/>
            </a:ln>
            <a:effectLst/>
          </p:spPr>
        </p:cxnSp>
        <p:cxnSp>
          <p:nvCxnSpPr>
            <p:cNvPr id="26" name="Straight Connector 22">
              <a:extLst>
                <a:ext uri="{FF2B5EF4-FFF2-40B4-BE49-F238E27FC236}">
                  <a16:creationId xmlns:a16="http://schemas.microsoft.com/office/drawing/2014/main" id="{4CDF1858-0364-4843-AA0E-D760DED89C1D}"/>
                </a:ext>
              </a:extLst>
            </p:cNvPr>
            <p:cNvCxnSpPr/>
            <p:nvPr/>
          </p:nvCxnSpPr>
          <p:spPr>
            <a:xfrm flipH="1">
              <a:off x="4514393" y="2523668"/>
              <a:ext cx="115214" cy="0"/>
            </a:xfrm>
            <a:prstGeom prst="line">
              <a:avLst/>
            </a:prstGeom>
            <a:noFill/>
            <a:ln w="19050" cap="rnd" cmpd="sng" algn="ctr">
              <a:solidFill>
                <a:srgbClr val="26890D"/>
              </a:solidFill>
              <a:prstDash val="solid"/>
            </a:ln>
            <a:effectLst/>
          </p:spPr>
        </p:cxnSp>
      </p:grpSp>
      <p:grpSp>
        <p:nvGrpSpPr>
          <p:cNvPr id="27" name="Group 23">
            <a:extLst>
              <a:ext uri="{FF2B5EF4-FFF2-40B4-BE49-F238E27FC236}">
                <a16:creationId xmlns:a16="http://schemas.microsoft.com/office/drawing/2014/main" id="{F2A452E0-7A08-4C33-BA49-0581505CB9F7}"/>
              </a:ext>
            </a:extLst>
          </p:cNvPr>
          <p:cNvGrpSpPr/>
          <p:nvPr/>
        </p:nvGrpSpPr>
        <p:grpSpPr>
          <a:xfrm rot="10800000">
            <a:off x="5212545" y="3934203"/>
            <a:ext cx="115214" cy="635906"/>
            <a:chOff x="4514393" y="1036303"/>
            <a:chExt cx="115214" cy="1487365"/>
          </a:xfrm>
        </p:grpSpPr>
        <p:cxnSp>
          <p:nvCxnSpPr>
            <p:cNvPr id="28" name="Straight Connector 24">
              <a:extLst>
                <a:ext uri="{FF2B5EF4-FFF2-40B4-BE49-F238E27FC236}">
                  <a16:creationId xmlns:a16="http://schemas.microsoft.com/office/drawing/2014/main" id="{8F1B2D10-5E7C-435F-8E02-F31B124D8971}"/>
                </a:ext>
              </a:extLst>
            </p:cNvPr>
            <p:cNvCxnSpPr/>
            <p:nvPr/>
          </p:nvCxnSpPr>
          <p:spPr>
            <a:xfrm flipV="1">
              <a:off x="4629607" y="1041066"/>
              <a:ext cx="0" cy="1482602"/>
            </a:xfrm>
            <a:prstGeom prst="line">
              <a:avLst/>
            </a:prstGeom>
            <a:noFill/>
            <a:ln w="19050" cap="rnd" cmpd="sng" algn="ctr">
              <a:solidFill>
                <a:srgbClr val="43B02A"/>
              </a:solidFill>
              <a:prstDash val="solid"/>
              <a:headEnd type="none"/>
              <a:tailEnd type="none"/>
            </a:ln>
            <a:effectLst/>
          </p:spPr>
        </p:cxnSp>
        <p:cxnSp>
          <p:nvCxnSpPr>
            <p:cNvPr id="29" name="Straight Connector 25">
              <a:extLst>
                <a:ext uri="{FF2B5EF4-FFF2-40B4-BE49-F238E27FC236}">
                  <a16:creationId xmlns:a16="http://schemas.microsoft.com/office/drawing/2014/main" id="{05CEE67D-2002-4F92-94AD-93EA9368D6D9}"/>
                </a:ext>
              </a:extLst>
            </p:cNvPr>
            <p:cNvCxnSpPr/>
            <p:nvPr/>
          </p:nvCxnSpPr>
          <p:spPr>
            <a:xfrm flipH="1">
              <a:off x="4514393" y="1036303"/>
              <a:ext cx="115214" cy="0"/>
            </a:xfrm>
            <a:prstGeom prst="line">
              <a:avLst/>
            </a:prstGeom>
            <a:noFill/>
            <a:ln w="19050" cap="rnd" cmpd="sng" algn="ctr">
              <a:solidFill>
                <a:srgbClr val="43B02A"/>
              </a:solidFill>
              <a:prstDash val="solid"/>
            </a:ln>
            <a:effectLst/>
          </p:spPr>
        </p:cxnSp>
        <p:cxnSp>
          <p:nvCxnSpPr>
            <p:cNvPr id="30" name="Straight Connector 26">
              <a:extLst>
                <a:ext uri="{FF2B5EF4-FFF2-40B4-BE49-F238E27FC236}">
                  <a16:creationId xmlns:a16="http://schemas.microsoft.com/office/drawing/2014/main" id="{3D3AFD96-C582-4AA9-902F-DE4487BCE767}"/>
                </a:ext>
              </a:extLst>
            </p:cNvPr>
            <p:cNvCxnSpPr/>
            <p:nvPr/>
          </p:nvCxnSpPr>
          <p:spPr>
            <a:xfrm flipH="1">
              <a:off x="4514393" y="2523668"/>
              <a:ext cx="115214" cy="0"/>
            </a:xfrm>
            <a:prstGeom prst="line">
              <a:avLst/>
            </a:prstGeom>
            <a:noFill/>
            <a:ln w="19050" cap="rnd" cmpd="sng" algn="ctr">
              <a:solidFill>
                <a:srgbClr val="43B02A"/>
              </a:solidFill>
              <a:prstDash val="solid"/>
            </a:ln>
            <a:effectLst/>
          </p:spPr>
        </p:cxnSp>
      </p:grpSp>
      <p:grpSp>
        <p:nvGrpSpPr>
          <p:cNvPr id="31" name="Group 27">
            <a:extLst>
              <a:ext uri="{FF2B5EF4-FFF2-40B4-BE49-F238E27FC236}">
                <a16:creationId xmlns:a16="http://schemas.microsoft.com/office/drawing/2014/main" id="{19E4A361-E92D-4E5A-9D77-5550AB136DC1}"/>
              </a:ext>
            </a:extLst>
          </p:cNvPr>
          <p:cNvGrpSpPr/>
          <p:nvPr/>
        </p:nvGrpSpPr>
        <p:grpSpPr>
          <a:xfrm rot="10800000">
            <a:off x="5236509" y="2939171"/>
            <a:ext cx="115214" cy="635906"/>
            <a:chOff x="4514393" y="1036303"/>
            <a:chExt cx="115214" cy="1487365"/>
          </a:xfrm>
        </p:grpSpPr>
        <p:cxnSp>
          <p:nvCxnSpPr>
            <p:cNvPr id="32" name="Straight Connector 28">
              <a:extLst>
                <a:ext uri="{FF2B5EF4-FFF2-40B4-BE49-F238E27FC236}">
                  <a16:creationId xmlns:a16="http://schemas.microsoft.com/office/drawing/2014/main" id="{17BBAB6E-8168-43A2-B6DE-FE4C751DBE81}"/>
                </a:ext>
              </a:extLst>
            </p:cNvPr>
            <p:cNvCxnSpPr/>
            <p:nvPr/>
          </p:nvCxnSpPr>
          <p:spPr>
            <a:xfrm flipV="1">
              <a:off x="4629607" y="1041066"/>
              <a:ext cx="0" cy="1482602"/>
            </a:xfrm>
            <a:prstGeom prst="line">
              <a:avLst/>
            </a:prstGeom>
            <a:noFill/>
            <a:ln w="19050" cap="rnd" cmpd="sng" algn="ctr">
              <a:solidFill>
                <a:srgbClr val="86BC25"/>
              </a:solidFill>
              <a:prstDash val="solid"/>
              <a:headEnd type="none"/>
              <a:tailEnd type="none"/>
            </a:ln>
            <a:effectLst/>
          </p:spPr>
        </p:cxnSp>
        <p:cxnSp>
          <p:nvCxnSpPr>
            <p:cNvPr id="33" name="Straight Connector 30">
              <a:extLst>
                <a:ext uri="{FF2B5EF4-FFF2-40B4-BE49-F238E27FC236}">
                  <a16:creationId xmlns:a16="http://schemas.microsoft.com/office/drawing/2014/main" id="{ECDAF6D5-68C9-44A7-89A1-EC1E096A2CB3}"/>
                </a:ext>
              </a:extLst>
            </p:cNvPr>
            <p:cNvCxnSpPr/>
            <p:nvPr/>
          </p:nvCxnSpPr>
          <p:spPr>
            <a:xfrm flipH="1">
              <a:off x="4514393" y="1036303"/>
              <a:ext cx="115214" cy="0"/>
            </a:xfrm>
            <a:prstGeom prst="line">
              <a:avLst/>
            </a:prstGeom>
            <a:noFill/>
            <a:ln w="19050" cap="rnd" cmpd="sng" algn="ctr">
              <a:solidFill>
                <a:srgbClr val="86BC25"/>
              </a:solidFill>
              <a:prstDash val="solid"/>
            </a:ln>
            <a:effectLst/>
          </p:spPr>
        </p:cxnSp>
        <p:cxnSp>
          <p:nvCxnSpPr>
            <p:cNvPr id="34" name="Straight Connector 31">
              <a:extLst>
                <a:ext uri="{FF2B5EF4-FFF2-40B4-BE49-F238E27FC236}">
                  <a16:creationId xmlns:a16="http://schemas.microsoft.com/office/drawing/2014/main" id="{7DCA77D8-45F9-43E9-8579-09DEA272AA00}"/>
                </a:ext>
              </a:extLst>
            </p:cNvPr>
            <p:cNvCxnSpPr/>
            <p:nvPr/>
          </p:nvCxnSpPr>
          <p:spPr>
            <a:xfrm flipH="1">
              <a:off x="4514393" y="2523668"/>
              <a:ext cx="115214" cy="0"/>
            </a:xfrm>
            <a:prstGeom prst="line">
              <a:avLst/>
            </a:prstGeom>
            <a:noFill/>
            <a:ln w="19050" cap="rnd" cmpd="sng" algn="ctr">
              <a:solidFill>
                <a:srgbClr val="86BC25"/>
              </a:solidFill>
              <a:prstDash val="solid"/>
            </a:ln>
            <a:effectLst/>
          </p:spPr>
        </p:cxnSp>
      </p:grpSp>
      <p:cxnSp>
        <p:nvCxnSpPr>
          <p:cNvPr id="35" name="Straight Connector 32">
            <a:extLst>
              <a:ext uri="{FF2B5EF4-FFF2-40B4-BE49-F238E27FC236}">
                <a16:creationId xmlns:a16="http://schemas.microsoft.com/office/drawing/2014/main" id="{82AA3846-A17F-49D0-825A-7C57387151E0}"/>
              </a:ext>
            </a:extLst>
          </p:cNvPr>
          <p:cNvCxnSpPr/>
          <p:nvPr/>
        </p:nvCxnSpPr>
        <p:spPr>
          <a:xfrm>
            <a:off x="2975044" y="3213168"/>
            <a:ext cx="2233978" cy="0"/>
          </a:xfrm>
          <a:prstGeom prst="line">
            <a:avLst/>
          </a:prstGeom>
          <a:noFill/>
          <a:ln w="19050" cap="flat" cmpd="sng" algn="ctr">
            <a:solidFill>
              <a:srgbClr val="86BC25"/>
            </a:solidFill>
            <a:prstDash val="solid"/>
            <a:headEnd type="oval"/>
            <a:tailEnd type="oval"/>
          </a:ln>
          <a:effectLst/>
        </p:spPr>
      </p:cxnSp>
      <p:cxnSp>
        <p:nvCxnSpPr>
          <p:cNvPr id="36" name="Elbow Connector 33">
            <a:extLst>
              <a:ext uri="{FF2B5EF4-FFF2-40B4-BE49-F238E27FC236}">
                <a16:creationId xmlns:a16="http://schemas.microsoft.com/office/drawing/2014/main" id="{C5EC2BFB-7F83-4AD4-9EA5-BE3322A1ADE6}"/>
              </a:ext>
            </a:extLst>
          </p:cNvPr>
          <p:cNvCxnSpPr>
            <a:cxnSpLocks/>
          </p:cNvCxnSpPr>
          <p:nvPr/>
        </p:nvCxnSpPr>
        <p:spPr>
          <a:xfrm>
            <a:off x="2974723" y="3231559"/>
            <a:ext cx="2218346" cy="965202"/>
          </a:xfrm>
          <a:prstGeom prst="bentConnector3">
            <a:avLst>
              <a:gd name="adj1" fmla="val 50000"/>
            </a:avLst>
          </a:prstGeom>
          <a:noFill/>
          <a:ln w="19050" cap="flat" cmpd="sng" algn="ctr">
            <a:solidFill>
              <a:srgbClr val="43B02A"/>
            </a:solidFill>
            <a:prstDash val="solid"/>
            <a:headEnd type="oval"/>
            <a:tailEnd type="oval"/>
          </a:ln>
          <a:effectLst/>
        </p:spPr>
      </p:cxnSp>
      <p:cxnSp>
        <p:nvCxnSpPr>
          <p:cNvPr id="39" name="Elbow Connector 34">
            <a:extLst>
              <a:ext uri="{FF2B5EF4-FFF2-40B4-BE49-F238E27FC236}">
                <a16:creationId xmlns:a16="http://schemas.microsoft.com/office/drawing/2014/main" id="{EE8890CF-8BF1-477C-9F4C-FA14290E51FA}"/>
              </a:ext>
            </a:extLst>
          </p:cNvPr>
          <p:cNvCxnSpPr>
            <a:cxnSpLocks/>
          </p:cNvCxnSpPr>
          <p:nvPr/>
        </p:nvCxnSpPr>
        <p:spPr>
          <a:xfrm>
            <a:off x="2975010" y="3240400"/>
            <a:ext cx="2246027" cy="2001197"/>
          </a:xfrm>
          <a:prstGeom prst="bentConnector3">
            <a:avLst>
              <a:gd name="adj1" fmla="val 50000"/>
            </a:avLst>
          </a:prstGeom>
          <a:noFill/>
          <a:ln w="19050" cap="flat" cmpd="sng" algn="ctr">
            <a:solidFill>
              <a:srgbClr val="26890D"/>
            </a:solidFill>
            <a:prstDash val="solid"/>
            <a:headEnd type="oval"/>
            <a:tailEnd type="oval"/>
          </a:ln>
          <a:effectLst/>
        </p:spPr>
      </p:cxnSp>
      <p:sp>
        <p:nvSpPr>
          <p:cNvPr id="41" name="TextBox 66">
            <a:extLst>
              <a:ext uri="{FF2B5EF4-FFF2-40B4-BE49-F238E27FC236}">
                <a16:creationId xmlns:a16="http://schemas.microsoft.com/office/drawing/2014/main" id="{4C0670C2-BF3B-46BE-B0AD-76D6CB351D77}"/>
              </a:ext>
            </a:extLst>
          </p:cNvPr>
          <p:cNvSpPr txBox="1"/>
          <p:nvPr/>
        </p:nvSpPr>
        <p:spPr>
          <a:xfrm>
            <a:off x="6235024" y="2742040"/>
            <a:ext cx="4832349" cy="830997"/>
          </a:xfrm>
          <a:prstGeom prst="rect">
            <a:avLst/>
          </a:prstGeom>
          <a:noFill/>
        </p:spPr>
        <p:txBody>
          <a:bodyPr wrap="square" lIns="0" tIns="0" rIns="0" bIns="0" rtlCol="0" anchor="ctr">
            <a:spAutoFit/>
          </a:bodyPr>
          <a:lstStyle/>
          <a:p>
            <a:pPr marL="0" marR="0" lvl="0" indent="0" defTabSz="705561" eaLnBrk="1" fontAlgn="auto" latinLnBrk="0" hangingPunct="1">
              <a:lnSpc>
                <a:spcPct val="100000"/>
              </a:lnSpc>
              <a:spcBef>
                <a:spcPts val="0"/>
              </a:spcBef>
              <a:spcAft>
                <a:spcPts val="0"/>
              </a:spcAft>
              <a:buClrTx/>
              <a:buSzTx/>
              <a:buFontTx/>
              <a:buNone/>
              <a:tabLst/>
              <a:defRPr/>
            </a:pPr>
            <a:r>
              <a:rPr kumimoji="0" lang="en-US" altLang="zh-CN" b="1" i="0" u="none" strike="noStrike" kern="0" cap="none" spc="0" normalizeH="0" baseline="0" noProof="0">
                <a:ln>
                  <a:noFill/>
                </a:ln>
                <a:solidFill>
                  <a:srgbClr val="000000"/>
                </a:solidFill>
                <a:effectLst/>
                <a:uLnTx/>
                <a:uFillTx/>
                <a:sym typeface="Arial" panose="020B0604020202020204" pitchFamily="34" charset="0"/>
              </a:rPr>
              <a:t>Question </a:t>
            </a:r>
            <a:r>
              <a:rPr lang="en-US" altLang="zh-CN" b="1" kern="0">
                <a:solidFill>
                  <a:srgbClr val="000000"/>
                </a:solidFill>
                <a:sym typeface="Arial" panose="020B0604020202020204" pitchFamily="34" charset="0"/>
              </a:rPr>
              <a:t>at hand: </a:t>
            </a:r>
            <a:r>
              <a:rPr lang="en-US" altLang="zh-CN" kern="0">
                <a:solidFill>
                  <a:srgbClr val="000000"/>
                </a:solidFill>
                <a:sym typeface="Arial" panose="020B0604020202020204" pitchFamily="34" charset="0"/>
              </a:rPr>
              <a:t>Do movies in the music genre have significantly higher average ratings than movies in other genres?  </a:t>
            </a:r>
            <a:endParaRPr kumimoji="0" lang="en-US" altLang="zh-CN" i="0" u="none" strike="noStrike" kern="0" cap="none" spc="0" normalizeH="0" baseline="0" noProof="0">
              <a:ln>
                <a:noFill/>
              </a:ln>
              <a:solidFill>
                <a:srgbClr val="000000"/>
              </a:solidFill>
              <a:effectLst/>
              <a:uLnTx/>
              <a:uFillTx/>
              <a:sym typeface="Arial" panose="020B0604020202020204" pitchFamily="34" charset="0"/>
            </a:endParaRPr>
          </a:p>
        </p:txBody>
      </p:sp>
      <p:sp>
        <p:nvSpPr>
          <p:cNvPr id="42" name="TextBox 69">
            <a:extLst>
              <a:ext uri="{FF2B5EF4-FFF2-40B4-BE49-F238E27FC236}">
                <a16:creationId xmlns:a16="http://schemas.microsoft.com/office/drawing/2014/main" id="{974930CA-7930-4747-A99C-010D1AB62E31}"/>
              </a:ext>
            </a:extLst>
          </p:cNvPr>
          <p:cNvSpPr txBox="1"/>
          <p:nvPr/>
        </p:nvSpPr>
        <p:spPr>
          <a:xfrm>
            <a:off x="6301591" y="3759804"/>
            <a:ext cx="4832351" cy="830997"/>
          </a:xfrm>
          <a:prstGeom prst="rect">
            <a:avLst/>
          </a:prstGeom>
          <a:noFill/>
        </p:spPr>
        <p:txBody>
          <a:bodyPr wrap="square" lIns="0" tIns="0" rIns="0" bIns="0" rtlCol="0" anchor="ctr">
            <a:spAutoFit/>
          </a:bodyPr>
          <a:lstStyle/>
          <a:p>
            <a:pPr marL="0" marR="0" lvl="0" indent="0" defTabSz="705561" eaLnBrk="1" fontAlgn="auto" latinLnBrk="0" hangingPunct="1">
              <a:lnSpc>
                <a:spcPct val="100000"/>
              </a:lnSpc>
              <a:spcBef>
                <a:spcPts val="0"/>
              </a:spcBef>
              <a:spcAft>
                <a:spcPts val="0"/>
              </a:spcAft>
              <a:buClrTx/>
              <a:buSzTx/>
              <a:buFontTx/>
              <a:buNone/>
              <a:tabLst/>
              <a:defRPr/>
            </a:pPr>
            <a:r>
              <a:rPr lang="en-US" altLang="zh-CN" b="1" kern="0">
                <a:solidFill>
                  <a:srgbClr val="000000"/>
                </a:solidFill>
                <a:sym typeface="Arial" panose="020B0604020202020204" pitchFamily="34" charset="0"/>
              </a:rPr>
              <a:t>Test type: </a:t>
            </a:r>
            <a:r>
              <a:rPr lang="en-US" altLang="zh-CN" kern="0">
                <a:solidFill>
                  <a:srgbClr val="000000"/>
                </a:solidFill>
                <a:sym typeface="Arial" panose="020B0604020202020204" pitchFamily="34" charset="0"/>
              </a:rPr>
              <a:t>Z score</a:t>
            </a:r>
          </a:p>
          <a:p>
            <a:pPr marL="0" marR="0" lvl="0" indent="0" defTabSz="705561" eaLnBrk="1" fontAlgn="auto" latinLnBrk="0" hangingPunct="1">
              <a:lnSpc>
                <a:spcPct val="100000"/>
              </a:lnSpc>
              <a:spcBef>
                <a:spcPts val="0"/>
              </a:spcBef>
              <a:spcAft>
                <a:spcPts val="0"/>
              </a:spcAft>
              <a:buClrTx/>
              <a:buSzTx/>
              <a:buFontTx/>
              <a:buNone/>
              <a:tabLst/>
              <a:defRPr/>
            </a:pPr>
            <a:r>
              <a:rPr lang="en-US" altLang="zh-CN" b="1" kern="0">
                <a:solidFill>
                  <a:srgbClr val="000000"/>
                </a:solidFill>
                <a:sym typeface="Arial" panose="020B0604020202020204" pitchFamily="34" charset="0"/>
              </a:rPr>
              <a:t>Significance level</a:t>
            </a:r>
            <a:r>
              <a:rPr kumimoji="0" lang="en-US" altLang="zh-CN" b="1" i="0" u="none" strike="noStrike" kern="0" cap="none" spc="0" normalizeH="0" baseline="0" noProof="0">
                <a:ln>
                  <a:noFill/>
                </a:ln>
                <a:solidFill>
                  <a:srgbClr val="000000"/>
                </a:solidFill>
                <a:effectLst/>
                <a:uLnTx/>
                <a:uFillTx/>
                <a:sym typeface="Arial" panose="020B0604020202020204" pitchFamily="34" charset="0"/>
              </a:rPr>
              <a:t>: </a:t>
            </a:r>
            <a:r>
              <a:rPr kumimoji="0" lang="en-US" altLang="zh-CN" i="0" u="none" strike="noStrike" kern="0" cap="none" spc="0" normalizeH="0" baseline="0" noProof="0">
                <a:ln>
                  <a:noFill/>
                </a:ln>
                <a:solidFill>
                  <a:srgbClr val="000000"/>
                </a:solidFill>
                <a:effectLst/>
                <a:uLnTx/>
                <a:uFillTx/>
                <a:sym typeface="Arial" panose="020B0604020202020204" pitchFamily="34" charset="0"/>
              </a:rPr>
              <a:t>5</a:t>
            </a:r>
            <a:r>
              <a:rPr lang="en-US" altLang="zh-CN" kern="0">
                <a:solidFill>
                  <a:srgbClr val="000000"/>
                </a:solidFill>
                <a:sym typeface="Arial" panose="020B0604020202020204" pitchFamily="34" charset="0"/>
              </a:rPr>
              <a:t>%</a:t>
            </a:r>
          </a:p>
          <a:p>
            <a:pPr marL="0" marR="0" lvl="0" indent="0" defTabSz="705561" eaLnBrk="1" fontAlgn="auto" latinLnBrk="0" hangingPunct="1">
              <a:lnSpc>
                <a:spcPct val="100000"/>
              </a:lnSpc>
              <a:spcBef>
                <a:spcPts val="0"/>
              </a:spcBef>
              <a:spcAft>
                <a:spcPts val="0"/>
              </a:spcAft>
              <a:buClrTx/>
              <a:buSzTx/>
              <a:buFontTx/>
              <a:buNone/>
              <a:tabLst/>
              <a:defRPr/>
            </a:pPr>
            <a:r>
              <a:rPr lang="en-US" altLang="zh-CN" b="1" kern="0">
                <a:solidFill>
                  <a:srgbClr val="000000"/>
                </a:solidFill>
                <a:sym typeface="Arial" panose="020B0604020202020204" pitchFamily="34" charset="0"/>
              </a:rPr>
              <a:t>Probability level: </a:t>
            </a:r>
            <a:r>
              <a:rPr lang="en-US" altLang="zh-CN" kern="0">
                <a:solidFill>
                  <a:srgbClr val="000000"/>
                </a:solidFill>
                <a:sym typeface="Arial" panose="020B0604020202020204" pitchFamily="34" charset="0"/>
              </a:rPr>
              <a:t>0.0 %</a:t>
            </a:r>
            <a:endParaRPr kumimoji="0" lang="en-US" altLang="zh-CN" i="0" u="none" strike="noStrike" kern="0" cap="none" spc="0" normalizeH="0" baseline="0" noProof="0">
              <a:ln>
                <a:noFill/>
              </a:ln>
              <a:solidFill>
                <a:srgbClr val="000000"/>
              </a:solidFill>
              <a:effectLst/>
              <a:uLnTx/>
              <a:uFillTx/>
              <a:sym typeface="Arial" panose="020B0604020202020204" pitchFamily="34" charset="0"/>
            </a:endParaRPr>
          </a:p>
        </p:txBody>
      </p:sp>
      <p:pic>
        <p:nvPicPr>
          <p:cNvPr id="47" name="Graphic 46" descr="List outline">
            <a:extLst>
              <a:ext uri="{FF2B5EF4-FFF2-40B4-BE49-F238E27FC236}">
                <a16:creationId xmlns:a16="http://schemas.microsoft.com/office/drawing/2014/main" id="{5558F156-CC6F-4C8D-83A8-64EAE0F1B1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0394" y="2786574"/>
            <a:ext cx="764630" cy="764630"/>
          </a:xfrm>
          <a:prstGeom prst="rect">
            <a:avLst/>
          </a:prstGeom>
        </p:spPr>
      </p:pic>
      <p:pic>
        <p:nvPicPr>
          <p:cNvPr id="49" name="Graphic 48" descr="Domino Tile outline">
            <a:extLst>
              <a:ext uri="{FF2B5EF4-FFF2-40B4-BE49-F238E27FC236}">
                <a16:creationId xmlns:a16="http://schemas.microsoft.com/office/drawing/2014/main" id="{00A84166-A90E-4D28-99C3-9997331F7C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7191" y="4784397"/>
            <a:ext cx="914400" cy="914400"/>
          </a:xfrm>
          <a:prstGeom prst="rect">
            <a:avLst/>
          </a:prstGeom>
        </p:spPr>
      </p:pic>
      <p:pic>
        <p:nvPicPr>
          <p:cNvPr id="52" name="Graphic 51" descr="Calculator outline">
            <a:extLst>
              <a:ext uri="{FF2B5EF4-FFF2-40B4-BE49-F238E27FC236}">
                <a16:creationId xmlns:a16="http://schemas.microsoft.com/office/drawing/2014/main" id="{E0B774A9-284B-4873-94D5-FDE3D784B23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87191" y="3749104"/>
            <a:ext cx="914400" cy="914400"/>
          </a:xfrm>
          <a:prstGeom prst="rect">
            <a:avLst/>
          </a:prstGeom>
        </p:spPr>
      </p:pic>
    </p:spTree>
    <p:extLst>
      <p:ext uri="{BB962C8B-B14F-4D97-AF65-F5344CB8AC3E}">
        <p14:creationId xmlns:p14="http://schemas.microsoft.com/office/powerpoint/2010/main" val="3119844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9669BF1C-2A4F-4ACC-AE8E-816F24A6C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830" y="2735867"/>
            <a:ext cx="1372187" cy="137218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3B9FEEF-683E-483E-9444-0A6C83D47E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942" y="1300476"/>
            <a:ext cx="1351515" cy="135151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F7656DE5-6AFB-4852-8F56-AF480A723C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7731" y="2745593"/>
            <a:ext cx="1372187" cy="13477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5">
            <a:extLst>
              <a:ext uri="{FF2B5EF4-FFF2-40B4-BE49-F238E27FC236}">
                <a16:creationId xmlns:a16="http://schemas.microsoft.com/office/drawing/2014/main" id="{18F3721F-113E-C6D7-32D2-BA3E61CF5333}"/>
              </a:ext>
            </a:extLst>
          </p:cNvPr>
          <p:cNvPicPr>
            <a:picLocks noChangeAspect="1"/>
          </p:cNvPicPr>
          <p:nvPr/>
        </p:nvPicPr>
        <p:blipFill rotWithShape="1">
          <a:blip r:embed="rId6"/>
          <a:srcRect l="-316" t="9547" r="-584" b="4561"/>
          <a:stretch/>
        </p:blipFill>
        <p:spPr>
          <a:xfrm>
            <a:off x="6351725" y="1326201"/>
            <a:ext cx="1361681" cy="1310568"/>
          </a:xfrm>
          <a:prstGeom prst="rect">
            <a:avLst/>
          </a:prstGeom>
        </p:spPr>
      </p:pic>
      <p:sp>
        <p:nvSpPr>
          <p:cNvPr id="4" name="Text Placeholder 1">
            <a:extLst>
              <a:ext uri="{FF2B5EF4-FFF2-40B4-BE49-F238E27FC236}">
                <a16:creationId xmlns:a16="http://schemas.microsoft.com/office/drawing/2014/main" id="{A7F1E0C2-F53B-4721-BB1D-9414B4FC9609}"/>
              </a:ext>
            </a:extLst>
          </p:cNvPr>
          <p:cNvSpPr txBox="1">
            <a:spLocks/>
          </p:cNvSpPr>
          <p:nvPr/>
        </p:nvSpPr>
        <p:spPr>
          <a:xfrm>
            <a:off x="469900" y="757856"/>
            <a:ext cx="11252200" cy="53075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rgbClr val="57575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575757"/>
                </a:solidFill>
                <a:effectLst/>
                <a:uLnTx/>
                <a:uFillTx/>
                <a:latin typeface="Calibri" panose="020F0502020204030204"/>
                <a:ea typeface="+mn-ea"/>
                <a:cs typeface="+mn-cs"/>
              </a:rPr>
              <a:t>We have several excited practitioners here to share their </a:t>
            </a:r>
            <a:r>
              <a:rPr lang="en-US" sz="1800">
                <a:latin typeface="Calibri" panose="020F0502020204030204"/>
              </a:rPr>
              <a:t>analysis</a:t>
            </a:r>
            <a:r>
              <a:rPr kumimoji="0" lang="en-US" sz="1800" b="0" i="0" u="none" strike="noStrike" kern="1200" cap="none" spc="0" normalizeH="0" baseline="0" noProof="0">
                <a:ln>
                  <a:noFill/>
                </a:ln>
                <a:solidFill>
                  <a:srgbClr val="575757"/>
                </a:solidFill>
                <a:effectLst/>
                <a:uLnTx/>
                <a:uFillTx/>
                <a:latin typeface="Calibri" panose="020F0502020204030204"/>
                <a:ea typeface="+mn-ea"/>
                <a:cs typeface="+mn-cs"/>
              </a:rPr>
              <a:t> with you!</a:t>
            </a:r>
          </a:p>
        </p:txBody>
      </p:sp>
      <p:sp>
        <p:nvSpPr>
          <p:cNvPr id="5" name="Title 2">
            <a:extLst>
              <a:ext uri="{FF2B5EF4-FFF2-40B4-BE49-F238E27FC236}">
                <a16:creationId xmlns:a16="http://schemas.microsoft.com/office/drawing/2014/main" id="{2AFFCB3C-E27F-4B5F-80EA-A32B6EE110EC}"/>
              </a:ext>
            </a:extLst>
          </p:cNvPr>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Our Experienced Team</a:t>
            </a:r>
          </a:p>
        </p:txBody>
      </p:sp>
      <p:sp>
        <p:nvSpPr>
          <p:cNvPr id="6" name="Rectangle 5">
            <a:extLst>
              <a:ext uri="{FF2B5EF4-FFF2-40B4-BE49-F238E27FC236}">
                <a16:creationId xmlns:a16="http://schemas.microsoft.com/office/drawing/2014/main" id="{70B155E1-97D1-40DC-953B-53A472054E58}"/>
              </a:ext>
            </a:extLst>
          </p:cNvPr>
          <p:cNvSpPr/>
          <p:nvPr/>
        </p:nvSpPr>
        <p:spPr>
          <a:xfrm>
            <a:off x="7859871" y="2854496"/>
            <a:ext cx="2988302" cy="1085850"/>
          </a:xfrm>
          <a:prstGeom prst="rect">
            <a:avLst/>
          </a:prstGeom>
          <a:no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Calibri Light"/>
                <a:ea typeface="+mn-ea"/>
                <a:cs typeface="Arial"/>
              </a:rPr>
              <a:t>Sheri </a:t>
            </a:r>
            <a:r>
              <a:rPr kumimoji="0" lang="en-US" sz="1800" b="1" i="0" u="none" strike="noStrike" kern="0" cap="none" spc="0" normalizeH="0" baseline="0" noProof="0" err="1">
                <a:ln>
                  <a:noFill/>
                </a:ln>
                <a:solidFill>
                  <a:prstClr val="black"/>
                </a:solidFill>
                <a:effectLst/>
                <a:uLnTx/>
                <a:uFillTx/>
                <a:latin typeface="Calibri Light"/>
                <a:ea typeface="+mn-ea"/>
                <a:cs typeface="Arial"/>
              </a:rPr>
              <a:t>Elsaker</a:t>
            </a:r>
            <a:endParaRPr kumimoji="0" lang="en-US" sz="1800" b="1" i="0" u="none" strike="noStrike" kern="0" cap="none" spc="0" normalizeH="0" baseline="0" noProof="0">
              <a:ln>
                <a:noFill/>
              </a:ln>
              <a:solidFill>
                <a:prstClr val="black"/>
              </a:solidFill>
              <a:effectLst/>
              <a:uLnTx/>
              <a:uFillTx/>
              <a:latin typeface="Calibri Light"/>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Calibri" panose="020F0502020204030204"/>
                <a:cs typeface="Arial"/>
              </a:rPr>
              <a:t>Strategic Data Analyst </a:t>
            </a:r>
            <a:endParaRPr kumimoji="0" lang="en-US" sz="1200" b="0" i="0" u="none" strike="noStrike" kern="0" cap="none" spc="0" normalizeH="0" baseline="0" noProof="0">
              <a:ln>
                <a:noFill/>
              </a:ln>
              <a:solidFill>
                <a:prstClr val="black"/>
              </a:solidFill>
              <a:effectLst/>
              <a:uLnTx/>
              <a:uFillTx/>
              <a:latin typeface="Calibri" panose="020F0502020204030204"/>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eloitte Consulting LLP</a:t>
            </a:r>
          </a:p>
        </p:txBody>
      </p:sp>
      <p:sp>
        <p:nvSpPr>
          <p:cNvPr id="7" name="TextBox 6">
            <a:extLst>
              <a:ext uri="{FF2B5EF4-FFF2-40B4-BE49-F238E27FC236}">
                <a16:creationId xmlns:a16="http://schemas.microsoft.com/office/drawing/2014/main" id="{4099C6AE-A747-4FFF-8E0B-8AA07879A072}"/>
              </a:ext>
            </a:extLst>
          </p:cNvPr>
          <p:cNvSpPr txBox="1"/>
          <p:nvPr/>
        </p:nvSpPr>
        <p:spPr bwMode="gray">
          <a:xfrm>
            <a:off x="5842000" y="2829976"/>
            <a:ext cx="1635760" cy="1486164"/>
          </a:xfrm>
          <a:prstGeom prst="rect">
            <a:avLst/>
          </a:prstGeom>
        </p:spPr>
        <p:txBody>
          <a:bodyPr wrap="square" lIns="0" rIns="0" rtlCol="0" anchor="b" anchorCtr="0">
            <a:normAutofit/>
          </a:bodyPr>
          <a:lstStyle/>
          <a:p>
            <a:pPr marL="0" marR="0" lvl="0" indent="0" defTabSz="914400" eaLnBrk="1" fontAlgn="auto" latinLnBrk="0" hangingPunct="1">
              <a:lnSpc>
                <a:spcPts val="900"/>
              </a:lnSpc>
              <a:spcBef>
                <a:spcPts val="0"/>
              </a:spcBef>
              <a:spcAft>
                <a:spcPts val="0"/>
              </a:spcAft>
              <a:buClrTx/>
              <a:buSzTx/>
              <a:buFontTx/>
              <a:buNone/>
              <a:tabLst/>
              <a:defRPr/>
            </a:pPr>
            <a:endParaRPr kumimoji="0" lang="en-US" sz="1300" b="1" i="0" u="none" strike="noStrike" kern="0" cap="none" spc="0" normalizeH="0" baseline="0" noProof="0">
              <a:ln>
                <a:noFill/>
              </a:ln>
              <a:solidFill>
                <a:prstClr val="black"/>
              </a:solidFill>
              <a:effectLst/>
              <a:uLnTx/>
              <a:uFillTx/>
            </a:endParaRPr>
          </a:p>
        </p:txBody>
      </p:sp>
      <p:sp>
        <p:nvSpPr>
          <p:cNvPr id="8" name="Rectangle 7">
            <a:extLst>
              <a:ext uri="{FF2B5EF4-FFF2-40B4-BE49-F238E27FC236}">
                <a16:creationId xmlns:a16="http://schemas.microsoft.com/office/drawing/2014/main" id="{920A127D-2720-4AB3-A987-25869DCE7B9E}"/>
              </a:ext>
            </a:extLst>
          </p:cNvPr>
          <p:cNvSpPr/>
          <p:nvPr/>
        </p:nvSpPr>
        <p:spPr>
          <a:xfrm>
            <a:off x="2086195" y="1541013"/>
            <a:ext cx="2910344" cy="736161"/>
          </a:xfrm>
          <a:prstGeom prst="rect">
            <a:avLst/>
          </a:prstGeom>
          <a:no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Calibri Light" panose="020F0302020204030204"/>
                <a:ea typeface="+mn-ea"/>
                <a:cs typeface="Arial"/>
              </a:rPr>
              <a:t>Joseph </a:t>
            </a:r>
            <a:r>
              <a:rPr kumimoji="0" lang="en-US" sz="1800" b="1" i="0" u="none" strike="noStrike" kern="0" cap="none" spc="0" normalizeH="0" baseline="0" noProof="0" err="1">
                <a:ln>
                  <a:noFill/>
                </a:ln>
                <a:solidFill>
                  <a:prstClr val="black"/>
                </a:solidFill>
                <a:effectLst/>
                <a:uLnTx/>
                <a:uFillTx/>
                <a:latin typeface="Calibri Light" panose="020F0302020204030204"/>
                <a:ea typeface="+mn-ea"/>
                <a:cs typeface="Arial"/>
              </a:rPr>
              <a:t>Wargo</a:t>
            </a:r>
            <a:endParaRPr kumimoji="0" lang="en-US" sz="1800" b="1" i="0" u="none" strike="noStrike" kern="0" cap="none" spc="0" normalizeH="0" baseline="0" noProof="0">
              <a:ln>
                <a:noFill/>
              </a:ln>
              <a:solidFill>
                <a:prstClr val="black"/>
              </a:solidFill>
              <a:effectLst/>
              <a:uLnTx/>
              <a:uFillTx/>
              <a:latin typeface="Calibri Light" panose="020F0302020204030204"/>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ata Cleaning SME</a:t>
            </a: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eloitte Consulting LLP</a:t>
            </a:r>
            <a:r>
              <a:rPr kumimoji="0" lang="en-US" sz="1200" b="0" i="0" u="none" strike="noStrike" kern="0" cap="none" spc="0" normalizeH="0" baseline="0" noProof="0">
                <a:ln>
                  <a:noFill/>
                </a:ln>
                <a:solidFill>
                  <a:prstClr val="white"/>
                </a:solidFill>
                <a:effectLst/>
                <a:uLnTx/>
                <a:uFillTx/>
                <a:latin typeface="Calibri" panose="020F0502020204030204"/>
                <a:ea typeface="+mn-ea"/>
                <a:cs typeface="Arial"/>
              </a:rPr>
              <a:t>P</a:t>
            </a:r>
          </a:p>
        </p:txBody>
      </p:sp>
      <p:sp>
        <p:nvSpPr>
          <p:cNvPr id="9" name="Rectangle 8">
            <a:extLst>
              <a:ext uri="{FF2B5EF4-FFF2-40B4-BE49-F238E27FC236}">
                <a16:creationId xmlns:a16="http://schemas.microsoft.com/office/drawing/2014/main" id="{F9D79797-7CFA-41D1-8926-C8DE6AECF515}"/>
              </a:ext>
            </a:extLst>
          </p:cNvPr>
          <p:cNvSpPr/>
          <p:nvPr/>
        </p:nvSpPr>
        <p:spPr>
          <a:xfrm>
            <a:off x="2151513" y="2983539"/>
            <a:ext cx="2910344" cy="736161"/>
          </a:xfrm>
          <a:prstGeom prst="rect">
            <a:avLst/>
          </a:prstGeom>
          <a:no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Calibri Light" panose="020F0302020204030204"/>
                <a:ea typeface="+mn-ea"/>
                <a:cs typeface="Arial"/>
              </a:rPr>
              <a:t>Madelyn Helson</a:t>
            </a: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Calibri" panose="020F0502020204030204"/>
                <a:cs typeface="Arial"/>
              </a:rPr>
              <a:t>Data Scientist </a:t>
            </a:r>
            <a:endParaRPr kumimoji="0" lang="en-US" sz="1200" b="0" i="0" u="none" strike="noStrike" kern="0" cap="none" spc="0" normalizeH="0" baseline="0" noProof="0">
              <a:ln>
                <a:noFill/>
              </a:ln>
              <a:solidFill>
                <a:prstClr val="black"/>
              </a:solidFill>
              <a:effectLst/>
              <a:uLnTx/>
              <a:uFillTx/>
              <a:latin typeface="Calibri" panose="020F0502020204030204"/>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eloitte Consulting LLP</a:t>
            </a:r>
          </a:p>
        </p:txBody>
      </p:sp>
      <p:sp>
        <p:nvSpPr>
          <p:cNvPr id="12" name="Rectangle 11">
            <a:extLst>
              <a:ext uri="{FF2B5EF4-FFF2-40B4-BE49-F238E27FC236}">
                <a16:creationId xmlns:a16="http://schemas.microsoft.com/office/drawing/2014/main" id="{97F7505A-D6DF-4457-906E-34A49550126C}"/>
              </a:ext>
            </a:extLst>
          </p:cNvPr>
          <p:cNvSpPr/>
          <p:nvPr/>
        </p:nvSpPr>
        <p:spPr>
          <a:xfrm>
            <a:off x="7882049" y="1379780"/>
            <a:ext cx="2988302" cy="1085850"/>
          </a:xfrm>
          <a:prstGeom prst="rect">
            <a:avLst/>
          </a:prstGeom>
          <a:noFill/>
          <a:ln w="12700" cap="flat" cmpd="sng" algn="ctr">
            <a:noFill/>
            <a:prstDash val="solid"/>
            <a:miter lim="800000"/>
          </a:ln>
          <a:effectLst/>
        </p:spPr>
        <p:txBody>
          <a:bodyPr lIns="0" tIns="0" rIns="0" bIns="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prstClr val="black"/>
                </a:solidFill>
                <a:effectLst/>
                <a:uLnTx/>
                <a:uFillTx/>
                <a:latin typeface="Calibri Light"/>
                <a:ea typeface="+mn-ea"/>
                <a:cs typeface="Arial"/>
              </a:rPr>
              <a:t>Josue Galindo De La Sern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ata Scientis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Arial"/>
              </a:rPr>
              <a:t>Deloitte Consulting LLP</a:t>
            </a:r>
          </a:p>
        </p:txBody>
      </p:sp>
    </p:spTree>
    <p:extLst>
      <p:ext uri="{BB962C8B-B14F-4D97-AF65-F5344CB8AC3E}">
        <p14:creationId xmlns:p14="http://schemas.microsoft.com/office/powerpoint/2010/main" val="3904207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verview of what we will be reviewing in this presentation</a:t>
            </a:r>
          </a:p>
        </p:txBody>
      </p:sp>
      <p:sp>
        <p:nvSpPr>
          <p:cNvPr id="3" name="Title 2"/>
          <p:cNvSpPr>
            <a:spLocks noGrp="1"/>
          </p:cNvSpPr>
          <p:nvPr>
            <p:ph type="title"/>
          </p:nvPr>
        </p:nvSpPr>
        <p:spPr/>
        <p:txBody>
          <a:bodyPr/>
          <a:lstStyle/>
          <a:p>
            <a:r>
              <a:rPr lang="en-GB"/>
              <a:t>Agenda</a:t>
            </a:r>
          </a:p>
        </p:txBody>
      </p:sp>
      <p:sp>
        <p:nvSpPr>
          <p:cNvPr id="50" name="TextBox 49"/>
          <p:cNvSpPr txBox="1"/>
          <p:nvPr/>
        </p:nvSpPr>
        <p:spPr>
          <a:xfrm>
            <a:off x="2026883" y="1634489"/>
            <a:ext cx="2051428" cy="1077218"/>
          </a:xfrm>
          <a:prstGeom prst="rect">
            <a:avLst/>
          </a:prstGeom>
          <a:noFill/>
        </p:spPr>
        <p:txBody>
          <a:bodyPr wrap="square" lIns="0" tIns="0" rIns="0" bIns="0" rtlCol="0">
            <a:noAutofit/>
          </a:bodyPr>
          <a:lstStyle/>
          <a:p>
            <a:pPr>
              <a:defRPr/>
            </a:pPr>
            <a:r>
              <a:rPr kumimoji="0" lang="en-GB" b="1" i="0" u="none" strike="noStrike" kern="1200" cap="none" spc="0" normalizeH="0" baseline="0" noProof="0">
                <a:ln>
                  <a:noFill/>
                </a:ln>
                <a:solidFill>
                  <a:srgbClr val="43B02A"/>
                </a:solidFill>
                <a:effectLst/>
                <a:uLnTx/>
                <a:uFillTx/>
                <a:latin typeface="Calibri"/>
                <a:ea typeface="+mn-ea"/>
                <a:cs typeface="+mn-cs"/>
              </a:rPr>
              <a:t>DS Process: CRISP- DM</a:t>
            </a:r>
            <a:endParaRPr kumimoji="0" lang="en-GB" b="0" i="0" u="none" strike="noStrike" kern="1200" cap="none" spc="0" normalizeH="0" baseline="0" noProof="0">
              <a:ln>
                <a:noFill/>
              </a:ln>
              <a:solidFill>
                <a:srgbClr val="53565A"/>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a:ln>
                <a:noFill/>
              </a:ln>
              <a:solidFill>
                <a:srgbClr val="26890D"/>
              </a:solidFill>
              <a:effectLst/>
              <a:uLnTx/>
              <a:uFillTx/>
              <a:latin typeface="Calibri"/>
              <a:ea typeface="+mn-ea"/>
              <a:cs typeface="+mn-cs"/>
            </a:endParaRPr>
          </a:p>
        </p:txBody>
      </p:sp>
      <p:sp>
        <p:nvSpPr>
          <p:cNvPr id="52" name="TextBox 51"/>
          <p:cNvSpPr txBox="1"/>
          <p:nvPr/>
        </p:nvSpPr>
        <p:spPr>
          <a:xfrm>
            <a:off x="92076" y="2676360"/>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43B02A"/>
                </a:solidFill>
                <a:effectLst/>
                <a:uLnTx/>
                <a:uFillTx/>
                <a:latin typeface="Calibri"/>
                <a:ea typeface="+mn-ea"/>
                <a:cs typeface="+mn-cs"/>
              </a:rPr>
              <a:t>02</a:t>
            </a:r>
          </a:p>
        </p:txBody>
      </p:sp>
      <p:sp>
        <p:nvSpPr>
          <p:cNvPr id="53" name="TextBox 52"/>
          <p:cNvSpPr txBox="1"/>
          <p:nvPr/>
        </p:nvSpPr>
        <p:spPr>
          <a:xfrm>
            <a:off x="92076" y="1408855"/>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26890D"/>
                </a:solidFill>
                <a:effectLst/>
                <a:uLnTx/>
                <a:uFillTx/>
                <a:latin typeface="Calibri"/>
                <a:ea typeface="+mn-ea"/>
                <a:cs typeface="+mn-cs"/>
              </a:rPr>
              <a:t>01</a:t>
            </a:r>
          </a:p>
        </p:txBody>
      </p:sp>
      <p:sp>
        <p:nvSpPr>
          <p:cNvPr id="55" name="TextBox 54"/>
          <p:cNvSpPr txBox="1"/>
          <p:nvPr/>
        </p:nvSpPr>
        <p:spPr>
          <a:xfrm>
            <a:off x="6021761" y="1694393"/>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43B02A"/>
                </a:solidFill>
                <a:effectLst/>
                <a:uLnTx/>
                <a:uFillTx/>
                <a:latin typeface="Calibri"/>
                <a:ea typeface="+mn-ea"/>
                <a:cs typeface="+mn-cs"/>
              </a:rPr>
              <a:t>Recommenda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65A"/>
              </a:solidFill>
              <a:effectLst/>
              <a:uLnTx/>
              <a:uFillTx/>
              <a:latin typeface="Calibri"/>
              <a:ea typeface="+mn-ea"/>
              <a:cs typeface="+mn-cs"/>
            </a:endParaRPr>
          </a:p>
        </p:txBody>
      </p:sp>
      <p:sp>
        <p:nvSpPr>
          <p:cNvPr id="56" name="TextBox 55"/>
          <p:cNvSpPr txBox="1"/>
          <p:nvPr/>
        </p:nvSpPr>
        <p:spPr>
          <a:xfrm>
            <a:off x="4078311" y="1476157"/>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chemeClr val="accent2"/>
                </a:solidFill>
                <a:effectLst/>
                <a:uLnTx/>
                <a:uFillTx/>
                <a:latin typeface="Calibri"/>
                <a:ea typeface="+mn-ea"/>
                <a:cs typeface="+mn-cs"/>
              </a:rPr>
              <a:t>04</a:t>
            </a:r>
          </a:p>
        </p:txBody>
      </p:sp>
      <p:sp>
        <p:nvSpPr>
          <p:cNvPr id="58" name="TextBox 57"/>
          <p:cNvSpPr txBox="1"/>
          <p:nvPr/>
        </p:nvSpPr>
        <p:spPr>
          <a:xfrm>
            <a:off x="92076" y="4074090"/>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86BC25"/>
                </a:solidFill>
                <a:effectLst/>
                <a:uLnTx/>
                <a:uFillTx/>
                <a:latin typeface="Calibri"/>
                <a:ea typeface="+mn-ea"/>
                <a:cs typeface="+mn-cs"/>
              </a:rPr>
              <a:t>03</a:t>
            </a:r>
          </a:p>
        </p:txBody>
      </p:sp>
      <p:sp>
        <p:nvSpPr>
          <p:cNvPr id="59" name="TextBox 58"/>
          <p:cNvSpPr txBox="1"/>
          <p:nvPr/>
        </p:nvSpPr>
        <p:spPr>
          <a:xfrm>
            <a:off x="4078311" y="2736264"/>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009A44"/>
                </a:solidFill>
                <a:effectLst/>
                <a:uLnTx/>
                <a:uFillTx/>
                <a:latin typeface="Calibri"/>
                <a:ea typeface="+mn-ea"/>
                <a:cs typeface="+mn-cs"/>
              </a:rPr>
              <a:t>05</a:t>
            </a:r>
          </a:p>
        </p:txBody>
      </p:sp>
      <p:sp>
        <p:nvSpPr>
          <p:cNvPr id="61" name="TextBox 60"/>
          <p:cNvSpPr txBox="1"/>
          <p:nvPr/>
        </p:nvSpPr>
        <p:spPr>
          <a:xfrm>
            <a:off x="4078311" y="4133994"/>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26890D"/>
                </a:solidFill>
                <a:effectLst/>
                <a:uLnTx/>
                <a:uFillTx/>
                <a:latin typeface="Calibri"/>
                <a:ea typeface="+mn-ea"/>
                <a:cs typeface="+mn-cs"/>
              </a:rPr>
              <a:t>06</a:t>
            </a:r>
          </a:p>
        </p:txBody>
      </p:sp>
      <p:sp>
        <p:nvSpPr>
          <p:cNvPr id="65" name="TextBox 64"/>
          <p:cNvSpPr txBox="1"/>
          <p:nvPr/>
        </p:nvSpPr>
        <p:spPr>
          <a:xfrm>
            <a:off x="2026883" y="2943575"/>
            <a:ext cx="2051428"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43B02A"/>
                </a:solidFill>
                <a:effectLst/>
                <a:uLnTx/>
                <a:uFillTx/>
                <a:latin typeface="Calibri"/>
                <a:ea typeface="+mn-ea"/>
                <a:cs typeface="+mn-cs"/>
              </a:rPr>
              <a:t>Data</a:t>
            </a:r>
            <a:endParaRPr kumimoji="0" lang="en-GB" b="0" i="0" u="none" strike="noStrike" kern="1200" cap="none" spc="0" normalizeH="0" baseline="0" noProof="0">
              <a:ln>
                <a:noFill/>
              </a:ln>
              <a:solidFill>
                <a:srgbClr val="53565A"/>
              </a:solidFill>
              <a:effectLst/>
              <a:uLnTx/>
              <a:uFillTx/>
              <a:latin typeface="Calibri"/>
              <a:ea typeface="+mn-ea"/>
              <a:cs typeface="+mn-cs"/>
            </a:endParaRPr>
          </a:p>
        </p:txBody>
      </p:sp>
      <p:sp>
        <p:nvSpPr>
          <p:cNvPr id="67" name="TextBox 66"/>
          <p:cNvSpPr txBox="1"/>
          <p:nvPr/>
        </p:nvSpPr>
        <p:spPr>
          <a:xfrm>
            <a:off x="6021761" y="3003479"/>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9A44"/>
                </a:solidFill>
                <a:effectLst/>
                <a:uLnTx/>
                <a:uFillTx/>
                <a:latin typeface="Calibri"/>
                <a:ea typeface="+mn-ea"/>
                <a:cs typeface="+mn-cs"/>
              </a:rPr>
              <a:t>Recommendation 2</a:t>
            </a:r>
          </a:p>
        </p:txBody>
      </p:sp>
      <p:sp>
        <p:nvSpPr>
          <p:cNvPr id="69" name="TextBox 68"/>
          <p:cNvSpPr txBox="1"/>
          <p:nvPr/>
        </p:nvSpPr>
        <p:spPr>
          <a:xfrm>
            <a:off x="2026883" y="4348146"/>
            <a:ext cx="2051428"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rgbClr val="86BC25"/>
                </a:solidFill>
                <a:latin typeface="Calibri"/>
              </a:rPr>
              <a:t>Analysis Generation </a:t>
            </a:r>
            <a:endParaRPr kumimoji="0" lang="en-GB" b="1" i="0" u="none" strike="noStrike" kern="1200" cap="none" spc="0" normalizeH="0" baseline="0" noProof="0">
              <a:ln>
                <a:noFill/>
              </a:ln>
              <a:solidFill>
                <a:srgbClr val="86BC25"/>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65A"/>
              </a:solidFill>
              <a:effectLst/>
              <a:uLnTx/>
              <a:uFillTx/>
              <a:latin typeface="Calibri"/>
              <a:ea typeface="+mn-ea"/>
              <a:cs typeface="+mn-cs"/>
            </a:endParaRPr>
          </a:p>
        </p:txBody>
      </p:sp>
      <p:sp>
        <p:nvSpPr>
          <p:cNvPr id="71" name="TextBox 70"/>
          <p:cNvSpPr txBox="1"/>
          <p:nvPr/>
        </p:nvSpPr>
        <p:spPr>
          <a:xfrm>
            <a:off x="6021761" y="4408050"/>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26890D"/>
                </a:solidFill>
                <a:effectLst/>
                <a:uLnTx/>
                <a:uFillTx/>
                <a:latin typeface="Calibri"/>
                <a:ea typeface="+mn-ea"/>
                <a:cs typeface="+mn-cs"/>
              </a:rPr>
              <a:t>Recommendation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65A"/>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DDA684C-0673-4188-A7F3-4B07A908F3B3}"/>
              </a:ext>
            </a:extLst>
          </p:cNvPr>
          <p:cNvSpPr txBox="1"/>
          <p:nvPr/>
        </p:nvSpPr>
        <p:spPr>
          <a:xfrm>
            <a:off x="9751398" y="1631546"/>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rgbClr val="225815"/>
                </a:solidFill>
                <a:latin typeface="Calibri"/>
              </a:rPr>
              <a:t>Recommendation Summary</a:t>
            </a:r>
            <a:endParaRPr kumimoji="0" lang="en-GB" b="0" i="0" u="none" strike="noStrike" kern="1200" cap="none" spc="0" normalizeH="0" baseline="0" noProof="0">
              <a:ln>
                <a:noFill/>
              </a:ln>
              <a:solidFill>
                <a:srgbClr val="53565A"/>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657D6539-30AD-4BF6-8DAE-2B410C5BD735}"/>
              </a:ext>
            </a:extLst>
          </p:cNvPr>
          <p:cNvSpPr txBox="1"/>
          <p:nvPr/>
        </p:nvSpPr>
        <p:spPr>
          <a:xfrm>
            <a:off x="7807948" y="1405912"/>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chemeClr val="accent2">
                    <a:lumMod val="50000"/>
                  </a:schemeClr>
                </a:solidFill>
                <a:effectLst/>
                <a:uLnTx/>
                <a:uFillTx/>
                <a:latin typeface="Calibri"/>
                <a:ea typeface="+mn-ea"/>
                <a:cs typeface="+mn-cs"/>
              </a:rPr>
              <a:t>07</a:t>
            </a:r>
          </a:p>
        </p:txBody>
      </p:sp>
      <p:sp>
        <p:nvSpPr>
          <p:cNvPr id="18" name="TextBox 17">
            <a:extLst>
              <a:ext uri="{FF2B5EF4-FFF2-40B4-BE49-F238E27FC236}">
                <a16:creationId xmlns:a16="http://schemas.microsoft.com/office/drawing/2014/main" id="{903BF98A-6046-40F6-9A43-F53C5A1EA058}"/>
              </a:ext>
            </a:extLst>
          </p:cNvPr>
          <p:cNvSpPr txBox="1"/>
          <p:nvPr/>
        </p:nvSpPr>
        <p:spPr>
          <a:xfrm>
            <a:off x="7807948" y="2673417"/>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86BC25"/>
                </a:solidFill>
                <a:effectLst/>
                <a:uLnTx/>
                <a:uFillTx/>
                <a:latin typeface="Calibri"/>
                <a:ea typeface="+mn-ea"/>
                <a:cs typeface="+mn-cs"/>
              </a:rPr>
              <a:t>08</a:t>
            </a:r>
          </a:p>
        </p:txBody>
      </p:sp>
      <p:sp>
        <p:nvSpPr>
          <p:cNvPr id="19" name="TextBox 18">
            <a:extLst>
              <a:ext uri="{FF2B5EF4-FFF2-40B4-BE49-F238E27FC236}">
                <a16:creationId xmlns:a16="http://schemas.microsoft.com/office/drawing/2014/main" id="{03E6F8E1-9D90-4680-AF6C-51C146386BCF}"/>
              </a:ext>
            </a:extLst>
          </p:cNvPr>
          <p:cNvSpPr txBox="1"/>
          <p:nvPr/>
        </p:nvSpPr>
        <p:spPr>
          <a:xfrm>
            <a:off x="7807948" y="4071147"/>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C4D600"/>
                </a:solidFill>
                <a:effectLst/>
                <a:uLnTx/>
                <a:uFillTx/>
                <a:latin typeface="Calibri"/>
                <a:ea typeface="+mn-ea"/>
                <a:cs typeface="+mn-cs"/>
              </a:rPr>
              <a:t>09</a:t>
            </a:r>
          </a:p>
        </p:txBody>
      </p:sp>
      <p:sp>
        <p:nvSpPr>
          <p:cNvPr id="20" name="TextBox 19">
            <a:extLst>
              <a:ext uri="{FF2B5EF4-FFF2-40B4-BE49-F238E27FC236}">
                <a16:creationId xmlns:a16="http://schemas.microsoft.com/office/drawing/2014/main" id="{3E20F7E9-28C0-41D7-8BB7-113356CF8A3B}"/>
              </a:ext>
            </a:extLst>
          </p:cNvPr>
          <p:cNvSpPr txBox="1"/>
          <p:nvPr/>
        </p:nvSpPr>
        <p:spPr>
          <a:xfrm>
            <a:off x="9751398" y="2940632"/>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86BC25"/>
                </a:solidFill>
                <a:effectLst/>
                <a:uLnTx/>
                <a:uFillTx/>
                <a:latin typeface="Calibri"/>
                <a:ea typeface="+mn-ea"/>
                <a:cs typeface="+mn-cs"/>
              </a:rPr>
              <a:t>Acknowledg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65A"/>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2E5D1B92-6020-4252-867C-E14F29FF15DE}"/>
              </a:ext>
            </a:extLst>
          </p:cNvPr>
          <p:cNvSpPr txBox="1"/>
          <p:nvPr/>
        </p:nvSpPr>
        <p:spPr>
          <a:xfrm>
            <a:off x="9751398" y="4345203"/>
            <a:ext cx="2256571" cy="107721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C4D600"/>
                </a:solidFill>
                <a:effectLst/>
                <a:uLnTx/>
                <a:uFillTx/>
                <a:latin typeface="Calibri"/>
                <a:ea typeface="+mn-ea"/>
                <a:cs typeface="+mn-cs"/>
              </a:rPr>
              <a:t>Thank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3565A"/>
              </a:solidFill>
              <a:effectLst/>
              <a:uLnTx/>
              <a:uFillTx/>
              <a:latin typeface="Calibri"/>
              <a:ea typeface="+mn-ea"/>
              <a:cs typeface="+mn-cs"/>
            </a:endParaRPr>
          </a:p>
        </p:txBody>
      </p:sp>
      <p:sp>
        <p:nvSpPr>
          <p:cNvPr id="4" name="TextBox 3">
            <a:extLst>
              <a:ext uri="{FF2B5EF4-FFF2-40B4-BE49-F238E27FC236}">
                <a16:creationId xmlns:a16="http://schemas.microsoft.com/office/drawing/2014/main" id="{386F1218-6721-4A90-A4CE-5DD4FB879304}"/>
              </a:ext>
            </a:extLst>
          </p:cNvPr>
          <p:cNvSpPr txBox="1"/>
          <p:nvPr/>
        </p:nvSpPr>
        <p:spPr>
          <a:xfrm>
            <a:off x="341523" y="6367749"/>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23" name="TextBox 22">
            <a:extLst>
              <a:ext uri="{FF2B5EF4-FFF2-40B4-BE49-F238E27FC236}">
                <a16:creationId xmlns:a16="http://schemas.microsoft.com/office/drawing/2014/main" id="{08F8F90B-3FF2-4A31-9800-7D1A96B466F3}"/>
              </a:ext>
            </a:extLst>
          </p:cNvPr>
          <p:cNvSpPr txBox="1"/>
          <p:nvPr/>
        </p:nvSpPr>
        <p:spPr>
          <a:xfrm>
            <a:off x="8278332" y="6375247"/>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3">
            <a:extLst>
              <a:ext uri="{FF2B5EF4-FFF2-40B4-BE49-F238E27FC236}">
                <a16:creationId xmlns:a16="http://schemas.microsoft.com/office/drawing/2014/main" id="{AB2A2A82-41F9-412F-9D0F-692B6F39C9EF}"/>
              </a:ext>
            </a:extLst>
          </p:cNvPr>
          <p:cNvCxnSpPr>
            <a:cxnSpLocks noChangeShapeType="1"/>
          </p:cNvCxnSpPr>
          <p:nvPr/>
        </p:nvCxnSpPr>
        <p:spPr bwMode="auto">
          <a:xfrm>
            <a:off x="4289467" y="1969863"/>
            <a:ext cx="2098986" cy="2139290"/>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sp>
        <p:nvSpPr>
          <p:cNvPr id="33" name="Flowchart: Connector 32">
            <a:extLst>
              <a:ext uri="{FF2B5EF4-FFF2-40B4-BE49-F238E27FC236}">
                <a16:creationId xmlns:a16="http://schemas.microsoft.com/office/drawing/2014/main" id="{97C3887C-54C4-4B8F-94B5-2EFCD5E295C9}"/>
              </a:ext>
            </a:extLst>
          </p:cNvPr>
          <p:cNvSpPr/>
          <p:nvPr/>
        </p:nvSpPr>
        <p:spPr>
          <a:xfrm>
            <a:off x="9675114" y="3034480"/>
            <a:ext cx="1074673" cy="1074673"/>
          </a:xfrm>
          <a:prstGeom prst="flowChartConnector">
            <a:avLst/>
          </a:prstGeom>
          <a:solidFill>
            <a:srgbClr val="A2D335"/>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Connector 29">
            <a:extLst>
              <a:ext uri="{FF2B5EF4-FFF2-40B4-BE49-F238E27FC236}">
                <a16:creationId xmlns:a16="http://schemas.microsoft.com/office/drawing/2014/main" id="{A72BEF68-4400-4A4E-AAD3-22CEF76E7BA8}"/>
              </a:ext>
            </a:extLst>
          </p:cNvPr>
          <p:cNvSpPr/>
          <p:nvPr/>
        </p:nvSpPr>
        <p:spPr>
          <a:xfrm>
            <a:off x="5763936" y="3954449"/>
            <a:ext cx="1640116" cy="1602348"/>
          </a:xfrm>
          <a:prstGeom prst="flowChartConnector">
            <a:avLst/>
          </a:prstGeom>
          <a:solidFill>
            <a:schemeClr val="tx1">
              <a:lumMod val="50000"/>
              <a:lumOff val="5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lowchart: Connector 28">
            <a:extLst>
              <a:ext uri="{FF2B5EF4-FFF2-40B4-BE49-F238E27FC236}">
                <a16:creationId xmlns:a16="http://schemas.microsoft.com/office/drawing/2014/main" id="{140C6B87-D260-464D-8FF1-C682A06D31FD}"/>
              </a:ext>
            </a:extLst>
          </p:cNvPr>
          <p:cNvSpPr/>
          <p:nvPr/>
        </p:nvSpPr>
        <p:spPr>
          <a:xfrm>
            <a:off x="3338128" y="1183838"/>
            <a:ext cx="1059904" cy="1074605"/>
          </a:xfrm>
          <a:prstGeom prst="flowChartConnector">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直接连接符 15">
            <a:extLst>
              <a:ext uri="{FF2B5EF4-FFF2-40B4-BE49-F238E27FC236}">
                <a16:creationId xmlns:a16="http://schemas.microsoft.com/office/drawing/2014/main" id="{F6887D3B-A5C8-491C-9DA0-98BFC17C89F2}"/>
              </a:ext>
            </a:extLst>
          </p:cNvPr>
          <p:cNvCxnSpPr>
            <a:cxnSpLocks noChangeShapeType="1"/>
          </p:cNvCxnSpPr>
          <p:nvPr/>
        </p:nvCxnSpPr>
        <p:spPr bwMode="auto">
          <a:xfrm flipV="1">
            <a:off x="7388056" y="3805429"/>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4" name="圆角矩形标注 20">
            <a:extLst>
              <a:ext uri="{FF2B5EF4-FFF2-40B4-BE49-F238E27FC236}">
                <a16:creationId xmlns:a16="http://schemas.microsoft.com/office/drawing/2014/main" id="{5525CB07-3800-4A97-85E3-0AE7D72A0DE4}"/>
              </a:ext>
            </a:extLst>
          </p:cNvPr>
          <p:cNvSpPr>
            <a:spLocks noChangeArrowheads="1"/>
          </p:cNvSpPr>
          <p:nvPr/>
        </p:nvSpPr>
        <p:spPr bwMode="auto">
          <a:xfrm>
            <a:off x="5519432" y="578827"/>
            <a:ext cx="3018353" cy="2849216"/>
          </a:xfrm>
          <a:prstGeom prst="wedgeRoundRectCallout">
            <a:avLst>
              <a:gd name="adj1" fmla="val -17782"/>
              <a:gd name="adj2" fmla="val 69108"/>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ata Prepar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Cleaning, constructing, and formatting the data frames to be easily manipulated</a:t>
            </a:r>
            <a:endParaRPr lang="en-US" altLang="zh-CN" sz="1600">
              <a:solidFill>
                <a:prstClr val="white"/>
              </a:solidFill>
              <a:ea typeface="方正兰亭细黑_GBK" panose="02000000000000000000" pitchFamily="2" charset="-122"/>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This includes standardizing </a:t>
            </a:r>
            <a:r>
              <a:rPr lang="en-US" altLang="zh-CN" sz="1600">
                <a:solidFill>
                  <a:prstClr val="white"/>
                </a:solidFill>
                <a:ea typeface="方正兰亭细黑_GBK" panose="02000000000000000000" pitchFamily="2" charset="-122"/>
                <a:sym typeface="方正兰亭超细黑简体" panose="02000000000000000000" pitchFamily="2" charset="-122"/>
              </a:rPr>
              <a:t>the genres, inputting Booleans to aid with qualitative comparisons, </a:t>
            </a:r>
            <a:r>
              <a:rPr lang="en-US" altLang="zh-CN" sz="1600" err="1">
                <a:solidFill>
                  <a:prstClr val="white"/>
                </a:solidFill>
                <a:ea typeface="方正兰亭细黑_GBK" panose="02000000000000000000" pitchFamily="2" charset="-122"/>
                <a:sym typeface="方正兰亭超细黑简体" panose="02000000000000000000" pitchFamily="2" charset="-122"/>
              </a:rPr>
              <a:t>etc</a:t>
            </a:r>
            <a:endPar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5" name="圆角矩形标注 26">
            <a:extLst>
              <a:ext uri="{FF2B5EF4-FFF2-40B4-BE49-F238E27FC236}">
                <a16:creationId xmlns:a16="http://schemas.microsoft.com/office/drawing/2014/main" id="{4F555DBF-F3DA-43C3-A3DF-6797286A6EE7}"/>
              </a:ext>
            </a:extLst>
          </p:cNvPr>
          <p:cNvSpPr>
            <a:spLocks noChangeArrowheads="1"/>
          </p:cNvSpPr>
          <p:nvPr/>
        </p:nvSpPr>
        <p:spPr bwMode="auto">
          <a:xfrm>
            <a:off x="8804623" y="578827"/>
            <a:ext cx="2928907" cy="2134670"/>
          </a:xfrm>
          <a:prstGeom prst="wedgeRoundRectCallout">
            <a:avLst>
              <a:gd name="adj1" fmla="val -10332"/>
              <a:gd name="adj2" fmla="val 6857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eplo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Gathered final information such as the top 3 recommendations and why.</a:t>
            </a:r>
          </a:p>
          <a:p>
            <a:pPr marL="285750" indent="-285750">
              <a:lnSpc>
                <a:spcPct val="100000"/>
              </a:lnSpc>
              <a:spcBef>
                <a:spcPts val="0"/>
              </a:spcBef>
              <a:defRPr/>
            </a:pPr>
            <a:r>
              <a:rPr lang="en-US" altLang="zh-CN" sz="1600">
                <a:solidFill>
                  <a:prstClr val="white"/>
                </a:solidFill>
                <a:ea typeface="方正兰亭细黑_GBK" panose="02000000000000000000" pitchFamily="2" charset="-122"/>
                <a:sym typeface="方正兰亭超细黑简体" panose="02000000000000000000" pitchFamily="2" charset="-122"/>
              </a:rPr>
              <a:t>Ensure this meets the business needs and requirements</a:t>
            </a:r>
            <a:endParaRPr kumimoji="0" lang="zh-CN" altLang="en-US"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6" name="圆角矩形标注 28">
            <a:extLst>
              <a:ext uri="{FF2B5EF4-FFF2-40B4-BE49-F238E27FC236}">
                <a16:creationId xmlns:a16="http://schemas.microsoft.com/office/drawing/2014/main" id="{8DF57EA6-BCAD-4896-9D92-5AD423CEB96B}"/>
              </a:ext>
            </a:extLst>
          </p:cNvPr>
          <p:cNvSpPr>
            <a:spLocks noChangeArrowheads="1"/>
          </p:cNvSpPr>
          <p:nvPr/>
        </p:nvSpPr>
        <p:spPr bwMode="auto">
          <a:xfrm>
            <a:off x="448184" y="4012795"/>
            <a:ext cx="2412795" cy="2707494"/>
          </a:xfrm>
          <a:prstGeom prst="wedgeRoundRectCallout">
            <a:avLst>
              <a:gd name="adj1" fmla="val 16008"/>
              <a:gd name="adj2" fmla="val -65438"/>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a:solidFill>
                  <a:prstClr val="white"/>
                </a:solidFill>
                <a:ea typeface="方正兰亭细黑_GBK" panose="02000000000000000000" pitchFamily="2" charset="-122"/>
                <a:sym typeface="方正兰亭超细黑简体" panose="02000000000000000000" pitchFamily="2" charset="-122"/>
              </a:rPr>
              <a:t>Business Understand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3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What is the current situation?</a:t>
            </a: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What insights will have the greatest impact?</a:t>
            </a:r>
          </a:p>
          <a:p>
            <a:pPr marL="285750" indent="-285750">
              <a:lnSpc>
                <a:spcPct val="100000"/>
              </a:lnSpc>
              <a:spcBef>
                <a:spcPts val="0"/>
              </a:spcBef>
              <a:defRPr/>
            </a:pPr>
            <a:r>
              <a:rPr lang="en-US" altLang="zh-CN" sz="1600">
                <a:solidFill>
                  <a:prstClr val="white"/>
                </a:solidFill>
                <a:ea typeface="方正兰亭细黑_GBK" panose="02000000000000000000" pitchFamily="2" charset="-122"/>
                <a:sym typeface="方正兰亭超细黑简体" panose="02000000000000000000" pitchFamily="2" charset="-122"/>
              </a:rPr>
              <a:t>Can we retrieve these insights and how?</a:t>
            </a:r>
            <a:endParaRPr kumimoji="0" lang="zh-CN" altLang="en-US"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7" name="圆角矩形标注 29">
            <a:extLst>
              <a:ext uri="{FF2B5EF4-FFF2-40B4-BE49-F238E27FC236}">
                <a16:creationId xmlns:a16="http://schemas.microsoft.com/office/drawing/2014/main" id="{6F33D924-3B45-4E3A-BE6D-E16EA6A5B31F}"/>
              </a:ext>
            </a:extLst>
          </p:cNvPr>
          <p:cNvSpPr>
            <a:spLocks noChangeArrowheads="1"/>
          </p:cNvSpPr>
          <p:nvPr/>
        </p:nvSpPr>
        <p:spPr bwMode="auto">
          <a:xfrm>
            <a:off x="2905047" y="2626167"/>
            <a:ext cx="2200618" cy="2849216"/>
          </a:xfrm>
          <a:prstGeom prst="wedgeRoundRectCallout">
            <a:avLst>
              <a:gd name="adj1" fmla="val 6855"/>
              <a:gd name="adj2" fmla="val -67648"/>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ata Understand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Initial examination of data</a:t>
            </a:r>
          </a:p>
          <a:p>
            <a:pPr marL="285750" indent="-285750">
              <a:lnSpc>
                <a:spcPct val="100000"/>
              </a:lnSpc>
              <a:spcBef>
                <a:spcPts val="0"/>
              </a:spcBef>
              <a:defRPr/>
            </a:pPr>
            <a:r>
              <a:rPr lang="en-US" altLang="zh-CN" sz="1600">
                <a:solidFill>
                  <a:prstClr val="white"/>
                </a:solidFill>
                <a:ea typeface="方正兰亭细黑_GBK" panose="02000000000000000000" pitchFamily="2" charset="-122"/>
                <a:sym typeface="方正兰亭超细黑简体" panose="02000000000000000000" pitchFamily="2" charset="-122"/>
              </a:rPr>
              <a:t>Verification that the data can assist with our plans and goals</a:t>
            </a:r>
            <a:endParaRPr kumimoji="0" lang="zh-CN" altLang="en-US" sz="1600" b="0" i="0" u="none" strike="noStrike" kern="1200" cap="none" spc="0" normalizeH="0" baseline="0" noProof="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grpSp>
        <p:nvGrpSpPr>
          <p:cNvPr id="8" name="组合 36">
            <a:extLst>
              <a:ext uri="{FF2B5EF4-FFF2-40B4-BE49-F238E27FC236}">
                <a16:creationId xmlns:a16="http://schemas.microsoft.com/office/drawing/2014/main" id="{0E510D39-EA3B-42C6-9DC2-0B850BE58194}"/>
              </a:ext>
            </a:extLst>
          </p:cNvPr>
          <p:cNvGrpSpPr>
            <a:grpSpLocks/>
          </p:cNvGrpSpPr>
          <p:nvPr/>
        </p:nvGrpSpPr>
        <p:grpSpPr bwMode="auto">
          <a:xfrm>
            <a:off x="1403638" y="2858122"/>
            <a:ext cx="661116" cy="665282"/>
            <a:chOff x="0" y="0"/>
            <a:chExt cx="495300" cy="498475"/>
          </a:xfrm>
        </p:grpSpPr>
        <p:sp>
          <p:nvSpPr>
            <p:cNvPr id="9" name="Freeform 90">
              <a:extLst>
                <a:ext uri="{FF2B5EF4-FFF2-40B4-BE49-F238E27FC236}">
                  <a16:creationId xmlns:a16="http://schemas.microsoft.com/office/drawing/2014/main" id="{79F06601-98A2-4B20-A084-845D48D0B54F}"/>
                </a:ext>
              </a:extLst>
            </p:cNvPr>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1">
              <a:extLst>
                <a:ext uri="{FF2B5EF4-FFF2-40B4-BE49-F238E27FC236}">
                  <a16:creationId xmlns:a16="http://schemas.microsoft.com/office/drawing/2014/main" id="{BB9DA478-F168-46F7-83B4-302D61348D6E}"/>
                </a:ext>
              </a:extLst>
            </p:cNvPr>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2">
              <a:extLst>
                <a:ext uri="{FF2B5EF4-FFF2-40B4-BE49-F238E27FC236}">
                  <a16:creationId xmlns:a16="http://schemas.microsoft.com/office/drawing/2014/main" id="{34B634CE-92FE-4FA6-A8E9-267E0B22A212}"/>
                </a:ext>
              </a:extLst>
            </p:cNvPr>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直接连接符 11">
            <a:extLst>
              <a:ext uri="{FF2B5EF4-FFF2-40B4-BE49-F238E27FC236}">
                <a16:creationId xmlns:a16="http://schemas.microsoft.com/office/drawing/2014/main" id="{AA56DE6E-EB68-4DE4-B6C4-3AC258EBCE60}"/>
              </a:ext>
            </a:extLst>
          </p:cNvPr>
          <p:cNvCxnSpPr>
            <a:cxnSpLocks noChangeShapeType="1"/>
          </p:cNvCxnSpPr>
          <p:nvPr/>
        </p:nvCxnSpPr>
        <p:spPr bwMode="auto">
          <a:xfrm flipV="1">
            <a:off x="2106706" y="2108957"/>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6" name="Freeform 654">
            <a:extLst>
              <a:ext uri="{FF2B5EF4-FFF2-40B4-BE49-F238E27FC236}">
                <a16:creationId xmlns:a16="http://schemas.microsoft.com/office/drawing/2014/main" id="{003D0CDB-0576-46B5-B1DA-32EA82B4E6DE}"/>
              </a:ext>
            </a:extLst>
          </p:cNvPr>
          <p:cNvSpPr>
            <a:spLocks noChangeAspect="1" noEditPoints="1"/>
          </p:cNvSpPr>
          <p:nvPr/>
        </p:nvSpPr>
        <p:spPr bwMode="auto">
          <a:xfrm>
            <a:off x="1316478" y="2671067"/>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pic>
        <p:nvPicPr>
          <p:cNvPr id="25" name="Graphic 24" descr="Hierarchy with solid fill">
            <a:extLst>
              <a:ext uri="{FF2B5EF4-FFF2-40B4-BE49-F238E27FC236}">
                <a16:creationId xmlns:a16="http://schemas.microsoft.com/office/drawing/2014/main" id="{7DAC4790-19EB-4894-9186-C8ADD46B48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10442" y="1203660"/>
            <a:ext cx="914400" cy="914400"/>
          </a:xfrm>
          <a:prstGeom prst="rect">
            <a:avLst/>
          </a:prstGeom>
        </p:spPr>
      </p:pic>
      <p:sp>
        <p:nvSpPr>
          <p:cNvPr id="28" name="Flowchart: Connector 27">
            <a:extLst>
              <a:ext uri="{FF2B5EF4-FFF2-40B4-BE49-F238E27FC236}">
                <a16:creationId xmlns:a16="http://schemas.microsoft.com/office/drawing/2014/main" id="{181E03B5-5CB5-4228-AC24-DD4B43912B0C}"/>
              </a:ext>
            </a:extLst>
          </p:cNvPr>
          <p:cNvSpPr/>
          <p:nvPr/>
        </p:nvSpPr>
        <p:spPr>
          <a:xfrm>
            <a:off x="1316478" y="2671067"/>
            <a:ext cx="977171" cy="967081"/>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Questions outline">
            <a:extLst>
              <a:ext uri="{FF2B5EF4-FFF2-40B4-BE49-F238E27FC236}">
                <a16:creationId xmlns:a16="http://schemas.microsoft.com/office/drawing/2014/main" id="{02488EAB-7718-4B63-9C3C-95F1136D29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44437" y="2757040"/>
            <a:ext cx="869205" cy="869205"/>
          </a:xfrm>
          <a:prstGeom prst="rect">
            <a:avLst/>
          </a:prstGeom>
        </p:spPr>
      </p:pic>
      <p:pic>
        <p:nvPicPr>
          <p:cNvPr id="32" name="Graphic 31" descr="Badge Tick1 outline">
            <a:extLst>
              <a:ext uri="{FF2B5EF4-FFF2-40B4-BE49-F238E27FC236}">
                <a16:creationId xmlns:a16="http://schemas.microsoft.com/office/drawing/2014/main" id="{BE5E4520-7F9D-4A02-8CDF-B7465BE776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62141" y="3112317"/>
            <a:ext cx="914400" cy="914400"/>
          </a:xfrm>
          <a:prstGeom prst="rect">
            <a:avLst/>
          </a:prstGeom>
        </p:spPr>
      </p:pic>
      <p:sp>
        <p:nvSpPr>
          <p:cNvPr id="36" name="Text Placeholder 1">
            <a:extLst>
              <a:ext uri="{FF2B5EF4-FFF2-40B4-BE49-F238E27FC236}">
                <a16:creationId xmlns:a16="http://schemas.microsoft.com/office/drawing/2014/main" id="{FA20B7E5-5E98-4578-99BB-3022777C2611}"/>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Sharing our journey</a:t>
            </a:r>
          </a:p>
        </p:txBody>
      </p:sp>
      <p:sp>
        <p:nvSpPr>
          <p:cNvPr id="37" name="Title 2">
            <a:extLst>
              <a:ext uri="{FF2B5EF4-FFF2-40B4-BE49-F238E27FC236}">
                <a16:creationId xmlns:a16="http://schemas.microsoft.com/office/drawing/2014/main" id="{B268B159-A2B9-46A7-BC7F-0CEA4959BB26}"/>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rPr>
              <a:t>DS Process: CRISP - DM</a:t>
            </a:r>
          </a:p>
        </p:txBody>
      </p:sp>
      <p:pic>
        <p:nvPicPr>
          <p:cNvPr id="39" name="Graphic 38" descr="Filter outline">
            <a:extLst>
              <a:ext uri="{FF2B5EF4-FFF2-40B4-BE49-F238E27FC236}">
                <a16:creationId xmlns:a16="http://schemas.microsoft.com/office/drawing/2014/main" id="{829D0ABC-F006-41E8-BE24-8E8D7C9DA5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68839" y="4163583"/>
            <a:ext cx="1469286" cy="1469286"/>
          </a:xfrm>
          <a:prstGeom prst="rect">
            <a:avLst/>
          </a:prstGeom>
        </p:spPr>
      </p:pic>
    </p:spTree>
    <p:extLst>
      <p:ext uri="{BB962C8B-B14F-4D97-AF65-F5344CB8AC3E}">
        <p14:creationId xmlns:p14="http://schemas.microsoft.com/office/powerpoint/2010/main" val="1519144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p:cNvCxnSpPr/>
          <p:nvPr/>
        </p:nvCxnSpPr>
        <p:spPr>
          <a:xfrm flipV="1">
            <a:off x="951464" y="1780326"/>
            <a:ext cx="3582574" cy="1"/>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51464" y="2919049"/>
            <a:ext cx="718497" cy="927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51464" y="4065437"/>
            <a:ext cx="3582574" cy="0"/>
          </a:xfrm>
          <a:prstGeom prst="line">
            <a:avLst/>
          </a:prstGeom>
          <a:ln w="47625">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51464" y="4769491"/>
            <a:ext cx="718497" cy="4457"/>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51464" y="5520784"/>
            <a:ext cx="3582574" cy="4"/>
          </a:xfrm>
          <a:prstGeom prst="line">
            <a:avLst/>
          </a:prstGeom>
          <a:ln w="476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29" idx="4"/>
            <a:endCxn id="65" idx="0"/>
          </p:cNvCxnSpPr>
          <p:nvPr/>
        </p:nvCxnSpPr>
        <p:spPr>
          <a:xfrm>
            <a:off x="710682" y="2021108"/>
            <a:ext cx="0" cy="3258897"/>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469900" y="1539545"/>
            <a:ext cx="481564" cy="481563"/>
          </a:xfrm>
          <a:prstGeom prst="ellipse">
            <a:avLst/>
          </a:prstGeom>
          <a:solidFill>
            <a:schemeClr val="accent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0" name="Freeform 974"/>
          <p:cNvSpPr>
            <a:spLocks noChangeAspect="1" noEditPoints="1"/>
          </p:cNvSpPr>
          <p:nvPr/>
        </p:nvSpPr>
        <p:spPr bwMode="auto">
          <a:xfrm>
            <a:off x="530230" y="1599874"/>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41" name="Oval 40"/>
          <p:cNvSpPr/>
          <p:nvPr/>
        </p:nvSpPr>
        <p:spPr bwMode="gray">
          <a:xfrm>
            <a:off x="469900" y="2682903"/>
            <a:ext cx="481564" cy="481563"/>
          </a:xfrm>
          <a:prstGeom prst="ellipse">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2" name="Freeform 974"/>
          <p:cNvSpPr>
            <a:spLocks noChangeAspect="1" noEditPoints="1"/>
          </p:cNvSpPr>
          <p:nvPr/>
        </p:nvSpPr>
        <p:spPr bwMode="auto">
          <a:xfrm>
            <a:off x="530230" y="2743233"/>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0" name="Oval 49"/>
          <p:cNvSpPr/>
          <p:nvPr/>
        </p:nvSpPr>
        <p:spPr bwMode="gray">
          <a:xfrm>
            <a:off x="469900" y="3824656"/>
            <a:ext cx="481564" cy="481563"/>
          </a:xfrm>
          <a:prstGeom prst="ellipse">
            <a:avLst/>
          </a:prstGeom>
          <a:solidFill>
            <a:srgbClr val="C4D60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1" name="Freeform 974"/>
          <p:cNvSpPr>
            <a:spLocks noChangeAspect="1" noEditPoints="1"/>
          </p:cNvSpPr>
          <p:nvPr/>
        </p:nvSpPr>
        <p:spPr bwMode="auto">
          <a:xfrm>
            <a:off x="530230" y="3884986"/>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6" name="Oval 55"/>
          <p:cNvSpPr/>
          <p:nvPr/>
        </p:nvSpPr>
        <p:spPr bwMode="gray">
          <a:xfrm>
            <a:off x="469900" y="4530938"/>
            <a:ext cx="481564" cy="481563"/>
          </a:xfrm>
          <a:prstGeom prst="ellipse">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7" name="Freeform 974"/>
          <p:cNvSpPr>
            <a:spLocks noChangeAspect="1" noEditPoints="1"/>
          </p:cNvSpPr>
          <p:nvPr/>
        </p:nvSpPr>
        <p:spPr bwMode="auto">
          <a:xfrm>
            <a:off x="530230" y="4591268"/>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65" name="Oval 64"/>
          <p:cNvSpPr/>
          <p:nvPr/>
        </p:nvSpPr>
        <p:spPr bwMode="gray">
          <a:xfrm>
            <a:off x="469900" y="5280005"/>
            <a:ext cx="481564" cy="481563"/>
          </a:xfrm>
          <a:prstGeom prst="ellipse">
            <a:avLst/>
          </a:prstGeom>
          <a:solidFill>
            <a:schemeClr val="accent6"/>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6" name="Freeform 974"/>
          <p:cNvSpPr>
            <a:spLocks noChangeAspect="1" noEditPoints="1"/>
          </p:cNvSpPr>
          <p:nvPr/>
        </p:nvSpPr>
        <p:spPr bwMode="auto">
          <a:xfrm>
            <a:off x="530230" y="5340335"/>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70" name="TextBox 69"/>
          <p:cNvSpPr txBox="1"/>
          <p:nvPr/>
        </p:nvSpPr>
        <p:spPr>
          <a:xfrm>
            <a:off x="1669961" y="1900654"/>
            <a:ext cx="2454334" cy="2046062"/>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Principals</a:t>
            </a:r>
          </a:p>
          <a:p>
            <a:pPr>
              <a:buSzPct val="100000"/>
            </a:pPr>
            <a:endParaRPr lang="en-US" altLang="zh-CN" sz="400" b="1">
              <a:solidFill>
                <a:schemeClr val="bg1"/>
              </a:solidFill>
            </a:endParaRPr>
          </a:p>
          <a:p>
            <a:pPr>
              <a:buSzPct val="100000"/>
            </a:pPr>
            <a:r>
              <a:rPr lang="en-US" altLang="zh-CN" sz="1400" b="1"/>
              <a:t>Person ID</a:t>
            </a:r>
          </a:p>
          <a:p>
            <a:pPr>
              <a:buSzPct val="100000"/>
            </a:pPr>
            <a:r>
              <a:rPr lang="en-US" altLang="zh-CN" sz="1400" b="1"/>
              <a:t>Movie ID</a:t>
            </a:r>
          </a:p>
          <a:p>
            <a:pPr>
              <a:buSzPct val="100000"/>
            </a:pPr>
            <a:r>
              <a:rPr lang="en-US" altLang="zh-CN" sz="1400">
                <a:solidFill>
                  <a:schemeClr val="bg1"/>
                </a:solidFill>
              </a:rPr>
              <a:t>Ordering</a:t>
            </a:r>
          </a:p>
          <a:p>
            <a:pPr>
              <a:buSzPct val="100000"/>
            </a:pPr>
            <a:r>
              <a:rPr lang="en-US" altLang="zh-CN" sz="1400">
                <a:solidFill>
                  <a:schemeClr val="bg1"/>
                </a:solidFill>
              </a:rPr>
              <a:t>Category</a:t>
            </a:r>
          </a:p>
          <a:p>
            <a:pPr>
              <a:buSzPct val="100000"/>
            </a:pPr>
            <a:r>
              <a:rPr lang="en-US" altLang="zh-CN" sz="1400">
                <a:solidFill>
                  <a:schemeClr val="bg1"/>
                </a:solidFill>
              </a:rPr>
              <a:t>Job</a:t>
            </a:r>
          </a:p>
          <a:p>
            <a:pPr>
              <a:buSzPct val="100000"/>
            </a:pPr>
            <a:r>
              <a:rPr lang="en-US" altLang="zh-CN" sz="1400">
                <a:solidFill>
                  <a:schemeClr val="bg1"/>
                </a:solidFill>
              </a:rPr>
              <a:t>Characters</a:t>
            </a:r>
          </a:p>
        </p:txBody>
      </p:sp>
      <p:sp>
        <p:nvSpPr>
          <p:cNvPr id="71" name="TextBox 70"/>
          <p:cNvSpPr txBox="1"/>
          <p:nvPr/>
        </p:nvSpPr>
        <p:spPr>
          <a:xfrm>
            <a:off x="1669961" y="4225416"/>
            <a:ext cx="2454331" cy="1092609"/>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spcBef>
                <a:spcPts val="600"/>
              </a:spcBef>
              <a:buSzPct val="100000"/>
            </a:pPr>
            <a:r>
              <a:rPr lang="en-US" altLang="zh-CN" b="1">
                <a:solidFill>
                  <a:schemeClr val="bg1"/>
                </a:solidFill>
              </a:rPr>
              <a:t>Directors</a:t>
            </a:r>
          </a:p>
          <a:p>
            <a:pPr>
              <a:buSzPct val="100000"/>
            </a:pPr>
            <a:endParaRPr lang="en-US" altLang="zh-CN" sz="400">
              <a:solidFill>
                <a:srgbClr val="DA291C"/>
              </a:solidFill>
            </a:endParaRPr>
          </a:p>
          <a:p>
            <a:pPr>
              <a:buSzPct val="100000"/>
            </a:pPr>
            <a:r>
              <a:rPr lang="en-US" altLang="zh-CN" sz="1400" b="1"/>
              <a:t>Person ID</a:t>
            </a:r>
          </a:p>
          <a:p>
            <a:pPr>
              <a:buSzPct val="100000"/>
            </a:pPr>
            <a:r>
              <a:rPr lang="en-US" altLang="zh-CN" sz="1400">
                <a:solidFill>
                  <a:schemeClr val="bg1"/>
                </a:solidFill>
              </a:rPr>
              <a:t>Movie ID</a:t>
            </a:r>
          </a:p>
        </p:txBody>
      </p:sp>
      <p:sp>
        <p:nvSpPr>
          <p:cNvPr id="75" name="TextBox 74"/>
          <p:cNvSpPr txBox="1"/>
          <p:nvPr/>
        </p:nvSpPr>
        <p:spPr>
          <a:xfrm>
            <a:off x="4534039" y="876478"/>
            <a:ext cx="2459428" cy="1807699"/>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Persons</a:t>
            </a:r>
          </a:p>
          <a:p>
            <a:pPr>
              <a:buSzPct val="100000"/>
            </a:pPr>
            <a:endParaRPr lang="en-US" altLang="zh-CN" sz="400" b="1">
              <a:solidFill>
                <a:schemeClr val="bg1"/>
              </a:solidFill>
            </a:endParaRPr>
          </a:p>
          <a:p>
            <a:pPr>
              <a:buSzPct val="100000"/>
            </a:pPr>
            <a:r>
              <a:rPr lang="en-US" altLang="zh-CN" sz="1400" b="1"/>
              <a:t>Person ID</a:t>
            </a:r>
          </a:p>
          <a:p>
            <a:pPr>
              <a:buSzPct val="100000"/>
            </a:pPr>
            <a:r>
              <a:rPr lang="en-US" altLang="zh-CN" sz="1400">
                <a:solidFill>
                  <a:schemeClr val="bg1"/>
                </a:solidFill>
              </a:rPr>
              <a:t>Primary Name</a:t>
            </a:r>
          </a:p>
          <a:p>
            <a:pPr>
              <a:buSzPct val="100000"/>
            </a:pPr>
            <a:r>
              <a:rPr lang="en-US" altLang="zh-CN" sz="1400">
                <a:solidFill>
                  <a:schemeClr val="bg1"/>
                </a:solidFill>
              </a:rPr>
              <a:t>Birth Year</a:t>
            </a:r>
          </a:p>
          <a:p>
            <a:pPr>
              <a:buSzPct val="100000"/>
            </a:pPr>
            <a:r>
              <a:rPr lang="en-US" altLang="zh-CN" sz="1400">
                <a:solidFill>
                  <a:schemeClr val="bg1"/>
                </a:solidFill>
              </a:rPr>
              <a:t>Death Year</a:t>
            </a:r>
          </a:p>
          <a:p>
            <a:pPr>
              <a:buSzPct val="100000"/>
            </a:pPr>
            <a:r>
              <a:rPr lang="en-US" altLang="zh-CN" sz="1400">
                <a:solidFill>
                  <a:schemeClr val="bg1"/>
                </a:solidFill>
              </a:rPr>
              <a:t>Primary Profession</a:t>
            </a:r>
          </a:p>
        </p:txBody>
      </p:sp>
      <p:sp>
        <p:nvSpPr>
          <p:cNvPr id="76" name="TextBox 75"/>
          <p:cNvSpPr txBox="1"/>
          <p:nvPr/>
        </p:nvSpPr>
        <p:spPr>
          <a:xfrm>
            <a:off x="4534039" y="3519134"/>
            <a:ext cx="2454331" cy="1092609"/>
          </a:xfrm>
          <a:prstGeom prst="roundRect">
            <a:avLst/>
          </a:prstGeom>
          <a:solidFill>
            <a:srgbClr val="C4D600"/>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Known For</a:t>
            </a:r>
          </a:p>
          <a:p>
            <a:pPr>
              <a:buSzPct val="100000"/>
            </a:pPr>
            <a:endParaRPr lang="en-US" altLang="zh-CN" sz="400" b="1">
              <a:solidFill>
                <a:schemeClr val="bg1"/>
              </a:solidFill>
            </a:endParaRPr>
          </a:p>
          <a:p>
            <a:pPr>
              <a:buSzPct val="100000"/>
            </a:pPr>
            <a:r>
              <a:rPr lang="en-US" altLang="zh-CN" sz="1400" b="1"/>
              <a:t>Person ID</a:t>
            </a:r>
          </a:p>
          <a:p>
            <a:pPr>
              <a:buSzPct val="100000"/>
            </a:pPr>
            <a:r>
              <a:rPr lang="en-US" altLang="zh-CN" sz="1400">
                <a:solidFill>
                  <a:schemeClr val="bg1"/>
                </a:solidFill>
              </a:rPr>
              <a:t>Movie ID</a:t>
            </a:r>
          </a:p>
        </p:txBody>
      </p:sp>
      <p:sp>
        <p:nvSpPr>
          <p:cNvPr id="77" name="TextBox 76"/>
          <p:cNvSpPr txBox="1"/>
          <p:nvPr/>
        </p:nvSpPr>
        <p:spPr>
          <a:xfrm>
            <a:off x="4534038" y="4974484"/>
            <a:ext cx="2454331" cy="1092609"/>
          </a:xfrm>
          <a:prstGeom prst="roundRect">
            <a:avLst/>
          </a:prstGeom>
          <a:solidFill>
            <a:schemeClr val="accent6"/>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Writers</a:t>
            </a:r>
          </a:p>
          <a:p>
            <a:pPr>
              <a:buSzPct val="100000"/>
            </a:pPr>
            <a:endParaRPr lang="en-US" altLang="zh-CN" sz="400" b="1">
              <a:solidFill>
                <a:schemeClr val="bg1"/>
              </a:solidFill>
            </a:endParaRPr>
          </a:p>
          <a:p>
            <a:pPr>
              <a:buSzPct val="100000"/>
            </a:pPr>
            <a:r>
              <a:rPr lang="en-US" altLang="zh-CN" sz="1400" b="1"/>
              <a:t>Person ID</a:t>
            </a:r>
          </a:p>
          <a:p>
            <a:pPr>
              <a:buSzPct val="100000"/>
            </a:pPr>
            <a:r>
              <a:rPr lang="en-US" altLang="zh-CN" sz="1400">
                <a:solidFill>
                  <a:schemeClr val="bg1"/>
                </a:solidFill>
              </a:rPr>
              <a:t>Movie ID</a:t>
            </a:r>
          </a:p>
        </p:txBody>
      </p:sp>
      <p:sp>
        <p:nvSpPr>
          <p:cNvPr id="140" name="Freeform 139"/>
          <p:cNvSpPr/>
          <p:nvPr/>
        </p:nvSpPr>
        <p:spPr bwMode="gray">
          <a:xfrm>
            <a:off x="4534038" y="4174454"/>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86BC25"/>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141" name="Freeform 140"/>
          <p:cNvSpPr/>
          <p:nvPr/>
        </p:nvSpPr>
        <p:spPr bwMode="gray">
          <a:xfrm>
            <a:off x="1669961" y="4872616"/>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142" name="Freeform 141"/>
          <p:cNvSpPr/>
          <p:nvPr/>
        </p:nvSpPr>
        <p:spPr bwMode="gray">
          <a:xfrm>
            <a:off x="4534038" y="5618053"/>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chemeClr val="accent6">
              <a:lumMod val="75000"/>
            </a:schemeClr>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35" name="Title 2">
            <a:extLst>
              <a:ext uri="{FF2B5EF4-FFF2-40B4-BE49-F238E27FC236}">
                <a16:creationId xmlns:a16="http://schemas.microsoft.com/office/drawing/2014/main" id="{13AA7282-3924-4D44-A08F-B34E651364F5}"/>
              </a:ext>
            </a:extLst>
          </p:cNvPr>
          <p:cNvSpPr txBox="1">
            <a:spLocks/>
          </p:cNvSpPr>
          <p:nvPr/>
        </p:nvSpPr>
        <p:spPr>
          <a:xfrm>
            <a:off x="501650" y="129032"/>
            <a:ext cx="2807607" cy="522567"/>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t>Data</a:t>
            </a:r>
          </a:p>
        </p:txBody>
      </p:sp>
      <p:sp>
        <p:nvSpPr>
          <p:cNvPr id="38" name="Freeform 138">
            <a:extLst>
              <a:ext uri="{FF2B5EF4-FFF2-40B4-BE49-F238E27FC236}">
                <a16:creationId xmlns:a16="http://schemas.microsoft.com/office/drawing/2014/main" id="{CBC750AB-4545-4AC1-8258-03E21D2E56BC}"/>
              </a:ext>
            </a:extLst>
          </p:cNvPr>
          <p:cNvSpPr/>
          <p:nvPr/>
        </p:nvSpPr>
        <p:spPr bwMode="gray">
          <a:xfrm>
            <a:off x="1663957" y="3511320"/>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72000" rIns="7200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cxnSp>
        <p:nvCxnSpPr>
          <p:cNvPr id="40" name="Straight Connector 39">
            <a:extLst>
              <a:ext uri="{FF2B5EF4-FFF2-40B4-BE49-F238E27FC236}">
                <a16:creationId xmlns:a16="http://schemas.microsoft.com/office/drawing/2014/main" id="{C55F91A6-86AA-4150-9298-394B38197BBD}"/>
              </a:ext>
            </a:extLst>
          </p:cNvPr>
          <p:cNvCxnSpPr>
            <a:cxnSpLocks/>
            <a:endCxn id="64" idx="3"/>
          </p:cNvCxnSpPr>
          <p:nvPr/>
        </p:nvCxnSpPr>
        <p:spPr>
          <a:xfrm>
            <a:off x="8027171" y="1203386"/>
            <a:ext cx="3175376" cy="24251"/>
          </a:xfrm>
          <a:prstGeom prst="line">
            <a:avLst/>
          </a:prstGeom>
          <a:ln w="476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ADC61AE-51FB-4211-9140-1FF490450628}"/>
              </a:ext>
            </a:extLst>
          </p:cNvPr>
          <p:cNvCxnSpPr/>
          <p:nvPr/>
        </p:nvCxnSpPr>
        <p:spPr>
          <a:xfrm>
            <a:off x="8027171" y="3093215"/>
            <a:ext cx="718497" cy="9270"/>
          </a:xfrm>
          <a:prstGeom prst="line">
            <a:avLst/>
          </a:prstGeom>
          <a:ln w="47625">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1CC7D71-5637-485B-857A-C603D15A6A23}"/>
              </a:ext>
            </a:extLst>
          </p:cNvPr>
          <p:cNvCxnSpPr/>
          <p:nvPr/>
        </p:nvCxnSpPr>
        <p:spPr>
          <a:xfrm flipV="1">
            <a:off x="8027171" y="5194030"/>
            <a:ext cx="718497" cy="4457"/>
          </a:xfrm>
          <a:prstGeom prst="line">
            <a:avLst/>
          </a:prstGeom>
          <a:ln w="47625">
            <a:solidFill>
              <a:srgbClr val="62B5E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24A9966-5997-4D5A-AAED-EFD8F6CAADEF}"/>
              </a:ext>
            </a:extLst>
          </p:cNvPr>
          <p:cNvCxnSpPr>
            <a:cxnSpLocks/>
          </p:cNvCxnSpPr>
          <p:nvPr/>
        </p:nvCxnSpPr>
        <p:spPr>
          <a:xfrm>
            <a:off x="7786389" y="1400622"/>
            <a:ext cx="0" cy="3992874"/>
          </a:xfrm>
          <a:prstGeom prst="line">
            <a:avLst/>
          </a:prstGeom>
          <a:ln w="476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409FC1B2-8525-4B57-BE99-D205E24CE013}"/>
              </a:ext>
            </a:extLst>
          </p:cNvPr>
          <p:cNvSpPr/>
          <p:nvPr/>
        </p:nvSpPr>
        <p:spPr bwMode="gray">
          <a:xfrm>
            <a:off x="7545607" y="962603"/>
            <a:ext cx="481564" cy="481563"/>
          </a:xfrm>
          <a:prstGeom prst="ellipse">
            <a:avLst/>
          </a:prstGeom>
          <a:solidFill>
            <a:schemeClr val="accent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9" name="Freeform 974">
            <a:extLst>
              <a:ext uri="{FF2B5EF4-FFF2-40B4-BE49-F238E27FC236}">
                <a16:creationId xmlns:a16="http://schemas.microsoft.com/office/drawing/2014/main" id="{E3E38584-DC93-45D0-AB22-BA733F1EA2A7}"/>
              </a:ext>
            </a:extLst>
          </p:cNvPr>
          <p:cNvSpPr>
            <a:spLocks noChangeAspect="1" noEditPoints="1"/>
          </p:cNvSpPr>
          <p:nvPr/>
        </p:nvSpPr>
        <p:spPr bwMode="auto">
          <a:xfrm>
            <a:off x="7605937" y="1022932"/>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2" name="Oval 51">
            <a:extLst>
              <a:ext uri="{FF2B5EF4-FFF2-40B4-BE49-F238E27FC236}">
                <a16:creationId xmlns:a16="http://schemas.microsoft.com/office/drawing/2014/main" id="{C0EB12CA-BB92-441B-A21F-191FF6379199}"/>
              </a:ext>
            </a:extLst>
          </p:cNvPr>
          <p:cNvSpPr/>
          <p:nvPr/>
        </p:nvSpPr>
        <p:spPr bwMode="gray">
          <a:xfrm>
            <a:off x="7545607" y="2857069"/>
            <a:ext cx="481564" cy="481563"/>
          </a:xfrm>
          <a:prstGeom prst="ellipse">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3" name="Freeform 974">
            <a:extLst>
              <a:ext uri="{FF2B5EF4-FFF2-40B4-BE49-F238E27FC236}">
                <a16:creationId xmlns:a16="http://schemas.microsoft.com/office/drawing/2014/main" id="{095D6767-2FFC-4117-8652-700DEF3A8FB0}"/>
              </a:ext>
            </a:extLst>
          </p:cNvPr>
          <p:cNvSpPr>
            <a:spLocks noChangeAspect="1" noEditPoints="1"/>
          </p:cNvSpPr>
          <p:nvPr/>
        </p:nvSpPr>
        <p:spPr bwMode="auto">
          <a:xfrm>
            <a:off x="7605937" y="2917399"/>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58" name="Oval 57">
            <a:extLst>
              <a:ext uri="{FF2B5EF4-FFF2-40B4-BE49-F238E27FC236}">
                <a16:creationId xmlns:a16="http://schemas.microsoft.com/office/drawing/2014/main" id="{C4127787-E765-439B-8347-188EE7CFDDF3}"/>
              </a:ext>
            </a:extLst>
          </p:cNvPr>
          <p:cNvSpPr/>
          <p:nvPr/>
        </p:nvSpPr>
        <p:spPr bwMode="gray">
          <a:xfrm>
            <a:off x="7545607" y="4955477"/>
            <a:ext cx="481564" cy="481563"/>
          </a:xfrm>
          <a:prstGeom prst="ellipse">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9" name="Freeform 974">
            <a:extLst>
              <a:ext uri="{FF2B5EF4-FFF2-40B4-BE49-F238E27FC236}">
                <a16:creationId xmlns:a16="http://schemas.microsoft.com/office/drawing/2014/main" id="{F4F0DA10-8EC0-4B3A-BD14-090FA3969444}"/>
              </a:ext>
            </a:extLst>
          </p:cNvPr>
          <p:cNvSpPr>
            <a:spLocks noChangeAspect="1" noEditPoints="1"/>
          </p:cNvSpPr>
          <p:nvPr/>
        </p:nvSpPr>
        <p:spPr bwMode="auto">
          <a:xfrm>
            <a:off x="7605937" y="5015807"/>
            <a:ext cx="360905" cy="360904"/>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GB"/>
          </a:p>
        </p:txBody>
      </p:sp>
      <p:sp>
        <p:nvSpPr>
          <p:cNvPr id="62" name="TextBox 61">
            <a:extLst>
              <a:ext uri="{FF2B5EF4-FFF2-40B4-BE49-F238E27FC236}">
                <a16:creationId xmlns:a16="http://schemas.microsoft.com/office/drawing/2014/main" id="{DFD03AD1-0F3D-4D45-BD2F-C29D0AF29E24}"/>
              </a:ext>
            </a:extLst>
          </p:cNvPr>
          <p:cNvSpPr txBox="1"/>
          <p:nvPr/>
        </p:nvSpPr>
        <p:spPr>
          <a:xfrm>
            <a:off x="8745668" y="2313183"/>
            <a:ext cx="2454334" cy="1569336"/>
          </a:xfrm>
          <a:prstGeom prst="roundRect">
            <a:avLst/>
          </a:prstGeom>
          <a:solidFill>
            <a:srgbClr val="43B02A"/>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Movie Ratings</a:t>
            </a:r>
          </a:p>
          <a:p>
            <a:pPr>
              <a:buSzPct val="100000"/>
            </a:pPr>
            <a:endParaRPr lang="en-US" altLang="zh-CN" sz="400" b="1">
              <a:solidFill>
                <a:schemeClr val="bg1"/>
              </a:solidFill>
            </a:endParaRPr>
          </a:p>
          <a:p>
            <a:pPr>
              <a:buSzPct val="100000"/>
            </a:pPr>
            <a:r>
              <a:rPr lang="en-US" altLang="zh-CN" sz="1400" b="1"/>
              <a:t>Movie ID</a:t>
            </a:r>
          </a:p>
          <a:p>
            <a:pPr>
              <a:buSzPct val="100000"/>
            </a:pPr>
            <a:r>
              <a:rPr lang="en-US" altLang="zh-CN" sz="1400">
                <a:solidFill>
                  <a:schemeClr val="bg1"/>
                </a:solidFill>
              </a:rPr>
              <a:t>Average Rating</a:t>
            </a:r>
          </a:p>
          <a:p>
            <a:pPr>
              <a:buSzPct val="100000"/>
            </a:pPr>
            <a:r>
              <a:rPr lang="en-US" altLang="zh-CN" sz="1400">
                <a:solidFill>
                  <a:schemeClr val="bg1"/>
                </a:solidFill>
              </a:rPr>
              <a:t>Number of Votes</a:t>
            </a:r>
          </a:p>
          <a:p>
            <a:pPr>
              <a:buSzPct val="100000"/>
            </a:pPr>
            <a:endParaRPr lang="en-US" altLang="zh-CN" sz="1400">
              <a:solidFill>
                <a:schemeClr val="bg1"/>
              </a:solidFill>
            </a:endParaRPr>
          </a:p>
        </p:txBody>
      </p:sp>
      <p:sp>
        <p:nvSpPr>
          <p:cNvPr id="63" name="TextBox 62">
            <a:extLst>
              <a:ext uri="{FF2B5EF4-FFF2-40B4-BE49-F238E27FC236}">
                <a16:creationId xmlns:a16="http://schemas.microsoft.com/office/drawing/2014/main" id="{DDCACBEB-8893-47DF-8419-345DE0419C83}"/>
              </a:ext>
            </a:extLst>
          </p:cNvPr>
          <p:cNvSpPr txBox="1"/>
          <p:nvPr/>
        </p:nvSpPr>
        <p:spPr>
          <a:xfrm>
            <a:off x="8745668" y="3945893"/>
            <a:ext cx="2454331" cy="2500736"/>
          </a:xfrm>
          <a:prstGeom prst="roundRect">
            <a:avLst/>
          </a:prstGeom>
          <a:solidFill>
            <a:srgbClr val="62B5E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Directors</a:t>
            </a:r>
          </a:p>
          <a:p>
            <a:pPr>
              <a:buSzPct val="100000"/>
            </a:pPr>
            <a:endParaRPr lang="en-US" altLang="zh-CN" sz="400">
              <a:solidFill>
                <a:srgbClr val="DA291C"/>
              </a:solidFill>
            </a:endParaRPr>
          </a:p>
          <a:p>
            <a:pPr>
              <a:buSzPct val="100000"/>
            </a:pPr>
            <a:r>
              <a:rPr lang="en-US" altLang="zh-CN" sz="1400" b="1"/>
              <a:t>Movie ID</a:t>
            </a:r>
          </a:p>
          <a:p>
            <a:pPr>
              <a:buSzPct val="100000"/>
            </a:pPr>
            <a:r>
              <a:rPr lang="en-US" altLang="zh-CN" sz="1400">
                <a:solidFill>
                  <a:schemeClr val="bg1"/>
                </a:solidFill>
              </a:rPr>
              <a:t>Ordering</a:t>
            </a:r>
          </a:p>
          <a:p>
            <a:pPr>
              <a:buSzPct val="100000"/>
            </a:pPr>
            <a:r>
              <a:rPr lang="en-US" altLang="zh-CN" sz="1400">
                <a:solidFill>
                  <a:schemeClr val="bg1"/>
                </a:solidFill>
              </a:rPr>
              <a:t>Title</a:t>
            </a:r>
          </a:p>
          <a:p>
            <a:pPr>
              <a:buSzPct val="100000"/>
            </a:pPr>
            <a:r>
              <a:rPr lang="en-US" altLang="zh-CN" sz="1400">
                <a:solidFill>
                  <a:schemeClr val="bg1"/>
                </a:solidFill>
              </a:rPr>
              <a:t>Region</a:t>
            </a:r>
          </a:p>
          <a:p>
            <a:pPr>
              <a:buSzPct val="100000"/>
            </a:pPr>
            <a:r>
              <a:rPr lang="en-US" altLang="zh-CN" sz="1400">
                <a:solidFill>
                  <a:schemeClr val="bg1"/>
                </a:solidFill>
              </a:rPr>
              <a:t>Language</a:t>
            </a:r>
          </a:p>
          <a:p>
            <a:pPr>
              <a:buSzPct val="100000"/>
            </a:pPr>
            <a:r>
              <a:rPr lang="en-US" altLang="zh-CN" sz="1400">
                <a:solidFill>
                  <a:schemeClr val="bg1"/>
                </a:solidFill>
              </a:rPr>
              <a:t>Types</a:t>
            </a:r>
          </a:p>
          <a:p>
            <a:pPr>
              <a:buSzPct val="100000"/>
            </a:pPr>
            <a:r>
              <a:rPr lang="en-US" altLang="zh-CN" sz="1400">
                <a:solidFill>
                  <a:schemeClr val="bg1"/>
                </a:solidFill>
              </a:rPr>
              <a:t>Attributes</a:t>
            </a:r>
          </a:p>
          <a:p>
            <a:pPr>
              <a:buSzPct val="100000"/>
            </a:pPr>
            <a:r>
              <a:rPr lang="en-US" altLang="zh-CN" sz="1400">
                <a:solidFill>
                  <a:schemeClr val="bg1"/>
                </a:solidFill>
              </a:rPr>
              <a:t>Is Original Title</a:t>
            </a:r>
          </a:p>
        </p:txBody>
      </p:sp>
      <p:sp>
        <p:nvSpPr>
          <p:cNvPr id="64" name="TextBox 63">
            <a:extLst>
              <a:ext uri="{FF2B5EF4-FFF2-40B4-BE49-F238E27FC236}">
                <a16:creationId xmlns:a16="http://schemas.microsoft.com/office/drawing/2014/main" id="{EBFADAB6-3AFC-4CC8-B7D9-B6FE32699052}"/>
              </a:ext>
            </a:extLst>
          </p:cNvPr>
          <p:cNvSpPr txBox="1"/>
          <p:nvPr/>
        </p:nvSpPr>
        <p:spPr>
          <a:xfrm>
            <a:off x="8743119" y="204606"/>
            <a:ext cx="2459428" cy="2046062"/>
          </a:xfrm>
          <a:prstGeom prst="roundRect">
            <a:avLst/>
          </a:prstGeom>
          <a:solidFill>
            <a:schemeClr val="accent5"/>
          </a:solidFill>
          <a:ln w="12700">
            <a:noFill/>
            <a:prstDash val="dash"/>
          </a:ln>
        </p:spPr>
        <p:style>
          <a:lnRef idx="1">
            <a:schemeClr val="accent1"/>
          </a:lnRef>
          <a:fillRef idx="0">
            <a:schemeClr val="accent1"/>
          </a:fillRef>
          <a:effectRef idx="0">
            <a:schemeClr val="accent1"/>
          </a:effectRef>
          <a:fontRef idx="minor">
            <a:schemeClr val="tx1"/>
          </a:fontRef>
        </p:style>
        <p:txBody>
          <a:bodyPr wrap="square" lIns="540000" tIns="108000" rIns="108000" bIns="108000" rtlCol="0" anchor="ctr">
            <a:spAutoFit/>
          </a:bodyPr>
          <a:lstStyle/>
          <a:p>
            <a:pPr>
              <a:buSzPct val="100000"/>
            </a:pPr>
            <a:r>
              <a:rPr lang="en-US" altLang="zh-CN" b="1">
                <a:solidFill>
                  <a:schemeClr val="bg1"/>
                </a:solidFill>
              </a:rPr>
              <a:t>Movie Basics</a:t>
            </a:r>
          </a:p>
          <a:p>
            <a:pPr>
              <a:buSzPct val="100000"/>
            </a:pPr>
            <a:endParaRPr lang="en-US" altLang="zh-CN" sz="400">
              <a:solidFill>
                <a:srgbClr val="DA291C"/>
              </a:solidFill>
            </a:endParaRPr>
          </a:p>
          <a:p>
            <a:pPr>
              <a:buSzPct val="100000"/>
            </a:pPr>
            <a:r>
              <a:rPr lang="en-US" altLang="zh-CN" sz="1400" b="1"/>
              <a:t>Movie ID</a:t>
            </a:r>
          </a:p>
          <a:p>
            <a:pPr>
              <a:buSzPct val="100000"/>
            </a:pPr>
            <a:r>
              <a:rPr lang="en-US" altLang="zh-CN" sz="1400">
                <a:solidFill>
                  <a:schemeClr val="bg1"/>
                </a:solidFill>
              </a:rPr>
              <a:t>Primary Title</a:t>
            </a:r>
          </a:p>
          <a:p>
            <a:pPr>
              <a:buSzPct val="100000"/>
            </a:pPr>
            <a:r>
              <a:rPr lang="en-US" altLang="zh-CN" sz="1400">
                <a:solidFill>
                  <a:schemeClr val="bg1"/>
                </a:solidFill>
              </a:rPr>
              <a:t>Original Title</a:t>
            </a:r>
          </a:p>
          <a:p>
            <a:pPr>
              <a:buSzPct val="100000"/>
            </a:pPr>
            <a:r>
              <a:rPr lang="en-US" altLang="zh-CN" sz="1400">
                <a:solidFill>
                  <a:schemeClr val="bg1"/>
                </a:solidFill>
              </a:rPr>
              <a:t>Start Year</a:t>
            </a:r>
          </a:p>
          <a:p>
            <a:pPr>
              <a:buSzPct val="100000"/>
            </a:pPr>
            <a:r>
              <a:rPr lang="en-US" altLang="zh-CN" sz="1400">
                <a:solidFill>
                  <a:schemeClr val="bg1"/>
                </a:solidFill>
              </a:rPr>
              <a:t>Runtime Minutes</a:t>
            </a:r>
          </a:p>
          <a:p>
            <a:pPr>
              <a:buSzPct val="100000"/>
            </a:pPr>
            <a:r>
              <a:rPr lang="en-US" altLang="zh-CN" sz="1400">
                <a:solidFill>
                  <a:schemeClr val="bg1"/>
                </a:solidFill>
              </a:rPr>
              <a:t>Genres</a:t>
            </a:r>
          </a:p>
        </p:txBody>
      </p:sp>
      <p:sp>
        <p:nvSpPr>
          <p:cNvPr id="80" name="Freeform 140">
            <a:extLst>
              <a:ext uri="{FF2B5EF4-FFF2-40B4-BE49-F238E27FC236}">
                <a16:creationId xmlns:a16="http://schemas.microsoft.com/office/drawing/2014/main" id="{2B839D83-7F2F-40C6-BC92-576B430B29C5}"/>
              </a:ext>
            </a:extLst>
          </p:cNvPr>
          <p:cNvSpPr/>
          <p:nvPr/>
        </p:nvSpPr>
        <p:spPr bwMode="gray">
          <a:xfrm>
            <a:off x="8745668" y="5993848"/>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A3E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82" name="Freeform 138">
            <a:extLst>
              <a:ext uri="{FF2B5EF4-FFF2-40B4-BE49-F238E27FC236}">
                <a16:creationId xmlns:a16="http://schemas.microsoft.com/office/drawing/2014/main" id="{A1BC34A6-E16A-4C0D-BC1C-2A372F76ACD0}"/>
              </a:ext>
            </a:extLst>
          </p:cNvPr>
          <p:cNvSpPr/>
          <p:nvPr/>
        </p:nvSpPr>
        <p:spPr bwMode="gray">
          <a:xfrm>
            <a:off x="8741940" y="3445427"/>
            <a:ext cx="451534" cy="445252"/>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9A44"/>
          </a:solidFill>
          <a:ln w="19050" algn="ctr">
            <a:noFill/>
            <a:miter lim="800000"/>
            <a:headEnd/>
            <a:tailEnd/>
          </a:ln>
        </p:spPr>
        <p:txBody>
          <a:bodyPr wrap="square" lIns="0" tIns="72000" rIns="72000" bIns="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39">
            <a:extLst>
              <a:ext uri="{FF2B5EF4-FFF2-40B4-BE49-F238E27FC236}">
                <a16:creationId xmlns:a16="http://schemas.microsoft.com/office/drawing/2014/main" id="{5768CAB5-43E6-4B70-A439-A4E140CBAE29}"/>
              </a:ext>
            </a:extLst>
          </p:cNvPr>
          <p:cNvSpPr/>
          <p:nvPr/>
        </p:nvSpPr>
        <p:spPr bwMode="gray">
          <a:xfrm>
            <a:off x="4534038" y="2243311"/>
            <a:ext cx="451534" cy="450478"/>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84" name="Freeform 139">
            <a:extLst>
              <a:ext uri="{FF2B5EF4-FFF2-40B4-BE49-F238E27FC236}">
                <a16:creationId xmlns:a16="http://schemas.microsoft.com/office/drawing/2014/main" id="{EC59FDBF-5F12-4E30-A278-6A89CB98965E}"/>
              </a:ext>
            </a:extLst>
          </p:cNvPr>
          <p:cNvSpPr/>
          <p:nvPr/>
        </p:nvSpPr>
        <p:spPr bwMode="gray">
          <a:xfrm>
            <a:off x="8741940" y="1786706"/>
            <a:ext cx="451534" cy="462218"/>
          </a:xfrm>
          <a:custGeom>
            <a:avLst/>
            <a:gdLst>
              <a:gd name="connsiteX0" fmla="*/ 70883 w 451534"/>
              <a:gd name="connsiteY0" fmla="*/ 0 h 445252"/>
              <a:gd name="connsiteX1" fmla="*/ 451534 w 451534"/>
              <a:gd name="connsiteY1" fmla="*/ 380651 h 445252"/>
              <a:gd name="connsiteX2" fmla="*/ 445022 w 451534"/>
              <a:gd name="connsiteY2" fmla="*/ 445252 h 445252"/>
              <a:gd name="connsiteX3" fmla="*/ 135283 w 451534"/>
              <a:gd name="connsiteY3" fmla="*/ 445252 h 445252"/>
              <a:gd name="connsiteX4" fmla="*/ 0 w 451534"/>
              <a:gd name="connsiteY4" fmla="*/ 309969 h 445252"/>
              <a:gd name="connsiteX5" fmla="*/ 0 w 451534"/>
              <a:gd name="connsiteY5" fmla="*/ 7145 h 445252"/>
              <a:gd name="connsiteX6" fmla="*/ 70883 w 451534"/>
              <a:gd name="connsiteY6" fmla="*/ 0 h 4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534" h="445252">
                <a:moveTo>
                  <a:pt x="70883" y="0"/>
                </a:moveTo>
                <a:cubicBezTo>
                  <a:pt x="281111" y="0"/>
                  <a:pt x="451534" y="170423"/>
                  <a:pt x="451534" y="380651"/>
                </a:cubicBezTo>
                <a:lnTo>
                  <a:pt x="445022" y="445252"/>
                </a:lnTo>
                <a:lnTo>
                  <a:pt x="135283" y="445252"/>
                </a:lnTo>
                <a:cubicBezTo>
                  <a:pt x="60568" y="445252"/>
                  <a:pt x="0" y="384684"/>
                  <a:pt x="0" y="309969"/>
                </a:cubicBezTo>
                <a:lnTo>
                  <a:pt x="0" y="7145"/>
                </a:lnTo>
                <a:lnTo>
                  <a:pt x="70883" y="0"/>
                </a:lnTo>
                <a:close/>
              </a:path>
            </a:pathLst>
          </a:custGeom>
          <a:solidFill>
            <a:srgbClr val="007680"/>
          </a:solidFill>
          <a:ln w="19050" algn="ctr">
            <a:noFill/>
            <a:miter lim="800000"/>
            <a:headEnd/>
            <a:tailEnd/>
          </a:ln>
        </p:spPr>
        <p:txBody>
          <a:bodyPr wrap="square" lIns="0" tIns="72000" rIns="72000" bIns="0" rtlCol="0" anchor="ctr"/>
          <a:lstStyle/>
          <a:p>
            <a:pPr algn="ctr">
              <a:lnSpc>
                <a:spcPct val="106000"/>
              </a:lnSpc>
              <a:buFont typeface="Wingdings 2" pitchFamily="18" charset="2"/>
              <a:buNone/>
            </a:pPr>
            <a:endParaRPr lang="en-US" sz="1600" b="1">
              <a:solidFill>
                <a:schemeClr val="bg1"/>
              </a:solidFill>
            </a:endParaRPr>
          </a:p>
        </p:txBody>
      </p:sp>
      <p:sp>
        <p:nvSpPr>
          <p:cNvPr id="46" name="TextBox 45">
            <a:extLst>
              <a:ext uri="{FF2B5EF4-FFF2-40B4-BE49-F238E27FC236}">
                <a16:creationId xmlns:a16="http://schemas.microsoft.com/office/drawing/2014/main" id="{49ECBE8D-3070-4CB0-A23A-035216E64CB3}"/>
              </a:ext>
            </a:extLst>
          </p:cNvPr>
          <p:cNvSpPr txBox="1"/>
          <p:nvPr/>
        </p:nvSpPr>
        <p:spPr>
          <a:xfrm>
            <a:off x="341523" y="6367749"/>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54" name="TextBox 53">
            <a:extLst>
              <a:ext uri="{FF2B5EF4-FFF2-40B4-BE49-F238E27FC236}">
                <a16:creationId xmlns:a16="http://schemas.microsoft.com/office/drawing/2014/main" id="{73CE6264-0937-4D80-B9E0-CBD39FF270B4}"/>
              </a:ext>
            </a:extLst>
          </p:cNvPr>
          <p:cNvSpPr txBox="1"/>
          <p:nvPr/>
        </p:nvSpPr>
        <p:spPr>
          <a:xfrm>
            <a:off x="8386419" y="6509998"/>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0325958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t>Three questions that drove our analysis on box office films:</a:t>
            </a:r>
          </a:p>
        </p:txBody>
      </p:sp>
      <p:sp>
        <p:nvSpPr>
          <p:cNvPr id="3" name="Title 2"/>
          <p:cNvSpPr>
            <a:spLocks noGrp="1"/>
          </p:cNvSpPr>
          <p:nvPr>
            <p:ph type="title"/>
          </p:nvPr>
        </p:nvSpPr>
        <p:spPr/>
        <p:txBody>
          <a:bodyPr/>
          <a:lstStyle/>
          <a:p>
            <a:r>
              <a:rPr lang="en-US"/>
              <a:t>Analysis Generation</a:t>
            </a:r>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388421" y="1030227"/>
            <a:ext cx="11258895" cy="4539832"/>
            <a:chOff x="2428221" y="1168121"/>
            <a:chExt cx="7082794" cy="4539832"/>
          </a:xfrm>
        </p:grpSpPr>
        <p:sp>
          <p:nvSpPr>
            <p:cNvPr id="13" name="AutoShape 12"/>
            <p:cNvSpPr>
              <a:spLocks noChangeArrowheads="1"/>
            </p:cNvSpPr>
            <p:nvPr/>
          </p:nvSpPr>
          <p:spPr bwMode="auto">
            <a:xfrm>
              <a:off x="4463517" y="1168122"/>
              <a:ext cx="336550" cy="4539831"/>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9"/>
            <p:cNvSpPr>
              <a:spLocks noChangeArrowheads="1"/>
            </p:cNvSpPr>
            <p:nvPr/>
          </p:nvSpPr>
          <p:spPr bwMode="auto">
            <a:xfrm>
              <a:off x="2428221" y="1168122"/>
              <a:ext cx="1898650" cy="4539831"/>
            </a:xfrm>
            <a:prstGeom prst="rect">
              <a:avLst/>
            </a:prstGeom>
            <a:solidFill>
              <a:schemeClr val="tx1"/>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a:solidFill>
                  <a:prstClr val="white"/>
                </a:solidFill>
                <a:latin typeface="Calibri"/>
                <a:ea typeface="ＭＳ Ｐゴシック" pitchFamily="50" charset="-128"/>
              </a:endParaRPr>
            </a:p>
            <a:p>
              <a:pPr marR="0" lvl="0" algn="ctr" defTabSz="914400" rtl="0" eaLnBrk="1" fontAlgn="auto" latinLnBrk="0" hangingPunct="1">
                <a:lnSpc>
                  <a:spcPct val="100000"/>
                </a:lnSpc>
                <a:spcBef>
                  <a:spcPts val="0"/>
                </a:spcBef>
                <a:spcAft>
                  <a:spcPts val="0"/>
                </a:spcAft>
                <a:buClrTx/>
                <a:buSzTx/>
                <a:tabLst/>
                <a:defRPr/>
              </a:pPr>
              <a:r>
                <a:rPr lang="en-US" altLang="ja-JP">
                  <a:solidFill>
                    <a:prstClr val="white"/>
                  </a:solidFill>
                  <a:latin typeface="Calibri"/>
                  <a:ea typeface="ＭＳ Ｐゴシック" pitchFamily="50" charset="-128"/>
                </a:rPr>
                <a:t>Five data sets from reputable movie review websites with over 300,000 rows of data.</a:t>
              </a:r>
            </a:p>
            <a:p>
              <a:pPr marR="0" lvl="0" algn="ctr" defTabSz="914400" rtl="0" eaLnBrk="1" fontAlgn="auto" latinLnBrk="0" hangingPunct="1">
                <a:lnSpc>
                  <a:spcPct val="100000"/>
                </a:lnSpc>
                <a:spcBef>
                  <a:spcPts val="0"/>
                </a:spcBef>
                <a:spcAft>
                  <a:spcPts val="0"/>
                </a:spcAft>
                <a:buClrTx/>
                <a:buSzTx/>
                <a:tabLst/>
                <a:defRPr/>
              </a:pPr>
              <a:endParaRPr lang="en-US" altLang="ja-JP">
                <a:solidFill>
                  <a:prstClr val="white"/>
                </a:solidFill>
                <a:latin typeface="Calibri"/>
                <a:ea typeface="ＭＳ Ｐゴシック" pitchFamily="50" charset="-128"/>
              </a:endParaRPr>
            </a:p>
            <a:p>
              <a:pPr marR="0" lvl="0" algn="ctr" defTabSz="914400" rtl="0" eaLnBrk="1" fontAlgn="auto" latinLnBrk="0" hangingPunct="1">
                <a:lnSpc>
                  <a:spcPct val="100000"/>
                </a:lnSpc>
                <a:spcBef>
                  <a:spcPts val="0"/>
                </a:spcBef>
                <a:spcAft>
                  <a:spcPts val="0"/>
                </a:spcAft>
                <a:buClrTx/>
                <a:buSzTx/>
                <a:tabLst/>
                <a:defRPr/>
              </a:pPr>
              <a:endParaRPr lang="en-US" altLang="ja-JP">
                <a:solidFill>
                  <a:prstClr val="white"/>
                </a:solidFill>
                <a:latin typeface="Calibri"/>
                <a:ea typeface="ＭＳ Ｐゴシック" pitchFamily="50" charset="-128"/>
              </a:endParaRPr>
            </a:p>
          </p:txBody>
        </p:sp>
        <p:sp>
          <p:nvSpPr>
            <p:cNvPr id="16" name="Rectangle 15">
              <a:extLst>
                <a:ext uri="{FF2B5EF4-FFF2-40B4-BE49-F238E27FC236}">
                  <a16:creationId xmlns:a16="http://schemas.microsoft.com/office/drawing/2014/main" id="{C18FE701-D9B6-40AE-BC5E-FA80580C3070}"/>
                </a:ext>
              </a:extLst>
            </p:cNvPr>
            <p:cNvSpPr>
              <a:spLocks noChangeArrowheads="1"/>
            </p:cNvSpPr>
            <p:nvPr/>
          </p:nvSpPr>
          <p:spPr bwMode="auto">
            <a:xfrm>
              <a:off x="8104490" y="1186196"/>
              <a:ext cx="1406525" cy="4521756"/>
            </a:xfrm>
            <a:prstGeom prst="rect">
              <a:avLst/>
            </a:prstGeom>
            <a:solidFill>
              <a:schemeClr val="accent1"/>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a:solidFill>
                  <a:prstClr val="black"/>
                </a:solidFill>
                <a:latin typeface="Calibri"/>
                <a:ea typeface="ＭＳ Ｐゴシック"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prstClr val="black"/>
                  </a:solidFill>
                  <a:latin typeface="Calibri"/>
                  <a:ea typeface="ＭＳ Ｐゴシック" pitchFamily="50" charset="-128"/>
                </a:rPr>
                <a:t>Question: </a:t>
              </a:r>
              <a:r>
                <a:rPr lang="en-US" altLang="ja-JP" sz="1400">
                  <a:solidFill>
                    <a:prstClr val="black"/>
                  </a:solidFill>
                  <a:latin typeface="Calibri"/>
                  <a:ea typeface="ＭＳ Ｐゴシック" pitchFamily="50" charset="-128"/>
                </a:rPr>
                <a:t>Which directors receive the highest praise from crit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prstClr val="black"/>
                  </a:solidFill>
                  <a:latin typeface="Calibri"/>
                  <a:ea typeface="ＭＳ Ｐゴシック" pitchFamily="50" charset="-128"/>
                </a:rPr>
                <a:t>Value: </a:t>
              </a:r>
              <a:r>
                <a:rPr lang="en-US" altLang="ja-JP" sz="1400">
                  <a:solidFill>
                    <a:prstClr val="black"/>
                  </a:solidFill>
                  <a:latin typeface="Calibri"/>
                  <a:ea typeface="ＭＳ Ｐゴシック" pitchFamily="50" charset="-128"/>
                </a:rPr>
                <a:t>A director with a portfolio of high-quality productions can aid in establishing Computing Vision as a highly regarded  movie studio. </a:t>
              </a: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p:txBody>
        </p:sp>
        <p:sp>
          <p:nvSpPr>
            <p:cNvPr id="17" name="Rectangle 16">
              <a:extLst>
                <a:ext uri="{FF2B5EF4-FFF2-40B4-BE49-F238E27FC236}">
                  <a16:creationId xmlns:a16="http://schemas.microsoft.com/office/drawing/2014/main" id="{46FB1A2A-9F78-424F-9270-B267EA2CABB3}"/>
                </a:ext>
              </a:extLst>
            </p:cNvPr>
            <p:cNvSpPr>
              <a:spLocks noChangeArrowheads="1"/>
            </p:cNvSpPr>
            <p:nvPr/>
          </p:nvSpPr>
          <p:spPr bwMode="auto">
            <a:xfrm>
              <a:off x="6521743" y="1168121"/>
              <a:ext cx="1406525" cy="4539831"/>
            </a:xfrm>
            <a:prstGeom prst="rect">
              <a:avLst/>
            </a:prstGeom>
            <a:solidFill>
              <a:schemeClr val="accent1"/>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a:solidFill>
                  <a:prstClr val="black"/>
                </a:solidFill>
                <a:latin typeface="Calibri"/>
                <a:ea typeface="ＭＳ Ｐゴシック"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a:solidFill>
                  <a:prstClr val="black"/>
                </a:solidFill>
                <a:latin typeface="Calibri"/>
                <a:ea typeface="ＭＳ Ｐゴシック"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a:solidFill>
                  <a:prstClr val="black"/>
                </a:solidFill>
                <a:latin typeface="Calibri"/>
                <a:ea typeface="ＭＳ Ｐゴシック"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a:solidFill>
                  <a:prstClr val="black"/>
                </a:solidFill>
                <a:latin typeface="Calibri"/>
                <a:ea typeface="ＭＳ Ｐゴシック"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prstClr val="black"/>
                  </a:solidFill>
                  <a:latin typeface="Calibri"/>
                  <a:ea typeface="ＭＳ Ｐゴシック" pitchFamily="50" charset="-128"/>
                </a:rPr>
                <a:t>Question: </a:t>
              </a:r>
              <a:r>
                <a:rPr lang="en-US" altLang="ja-JP" sz="1400">
                  <a:solidFill>
                    <a:prstClr val="black"/>
                  </a:solidFill>
                  <a:latin typeface="Calibri"/>
                  <a:ea typeface="ＭＳ Ｐゴシック" pitchFamily="50" charset="-128"/>
                </a:rPr>
                <a:t>Which actors and actresses are the most popular? What is the most optimal cast siz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a:solidFill>
                    <a:prstClr val="black"/>
                  </a:solidFill>
                  <a:latin typeface="Calibri"/>
                  <a:ea typeface="ＭＳ Ｐゴシック" pitchFamily="50" charset="-128"/>
                </a:rPr>
                <a:t>Value: </a:t>
              </a:r>
              <a:r>
                <a:rPr lang="en-US" altLang="ja-JP" sz="1400">
                  <a:solidFill>
                    <a:prstClr val="black"/>
                  </a:solidFill>
                  <a:latin typeface="Calibri"/>
                  <a:ea typeface="ＭＳ Ｐゴシック" pitchFamily="50" charset="-128"/>
                </a:rPr>
                <a:t>Choosing the right number of actors and actresses that are performing at the top of their industry can draw an immense amount of attention and praise from reviewers.</a:t>
              </a: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p:txBody>
        </p:sp>
        <p:sp>
          <p:nvSpPr>
            <p:cNvPr id="18" name="Rectangle 17">
              <a:extLst>
                <a:ext uri="{FF2B5EF4-FFF2-40B4-BE49-F238E27FC236}">
                  <a16:creationId xmlns:a16="http://schemas.microsoft.com/office/drawing/2014/main" id="{8D20B06F-5508-48E6-A4BE-A0E73762070B}"/>
                </a:ext>
              </a:extLst>
            </p:cNvPr>
            <p:cNvSpPr>
              <a:spLocks noChangeArrowheads="1"/>
            </p:cNvSpPr>
            <p:nvPr/>
          </p:nvSpPr>
          <p:spPr bwMode="auto">
            <a:xfrm>
              <a:off x="4948982" y="1168122"/>
              <a:ext cx="1406525" cy="4521756"/>
            </a:xfrm>
            <a:prstGeom prst="rect">
              <a:avLst/>
            </a:prstGeom>
            <a:solidFill>
              <a:schemeClr val="accent1"/>
            </a:solidFill>
            <a:ln w="19050" algn="ctr">
              <a:noFill/>
              <a:miter lim="800000"/>
              <a:headEnd/>
              <a:tailEnd/>
            </a:ln>
          </p:spPr>
          <p:txBody>
            <a:bodyPr wrap="square" lIns="88900" tIns="88900" rIns="88900" bIns="88900" anchor="ctr"/>
            <a:lstStyle/>
            <a:p>
              <a:pPr marR="0" lvl="0" algn="ctr" defTabSz="914400" rtl="0" eaLnBrk="1" fontAlgn="auto" latinLnBrk="0" hangingPunct="1">
                <a:lnSpc>
                  <a:spcPct val="100000"/>
                </a:lnSpc>
                <a:spcBef>
                  <a:spcPts val="0"/>
                </a:spcBef>
                <a:spcAft>
                  <a:spcPts val="0"/>
                </a:spcAft>
                <a:buClrTx/>
                <a:buSzTx/>
                <a:tabLst/>
                <a:defRPr/>
              </a:pPr>
              <a:endParaRPr kumimoji="0" lang="en-US" altLang="ja-JP" sz="1400" b="1" i="0" u="none" strike="noStrike" kern="1200" cap="none" spc="0" normalizeH="0" baseline="0" noProof="0">
                <a:ln>
                  <a:noFill/>
                </a:ln>
                <a:solidFill>
                  <a:prstClr val="black"/>
                </a:solidFill>
                <a:effectLst/>
                <a:uLnTx/>
                <a:uFillTx/>
                <a:latin typeface="Calibri"/>
                <a:ea typeface="ＭＳ Ｐゴシック" pitchFamily="50" charset="-128"/>
                <a:cs typeface="+mn-cs"/>
              </a:endParaRPr>
            </a:p>
            <a:p>
              <a:pPr marR="0" lvl="0" algn="ctr" defTabSz="914400" rtl="0" eaLnBrk="1" fontAlgn="auto" latinLnBrk="0" hangingPunct="1">
                <a:lnSpc>
                  <a:spcPct val="100000"/>
                </a:lnSpc>
                <a:spcBef>
                  <a:spcPts val="0"/>
                </a:spcBef>
                <a:spcAft>
                  <a:spcPts val="0"/>
                </a:spcAft>
                <a:buClrTx/>
                <a:buSzTx/>
                <a:tabLst/>
                <a:defRPr/>
              </a:pPr>
              <a:endParaRPr lang="en-US" altLang="ja-JP" sz="1400" b="1">
                <a:solidFill>
                  <a:prstClr val="black"/>
                </a:solidFill>
                <a:latin typeface="Calibri"/>
                <a:ea typeface="ＭＳ Ｐゴシック" pitchFamily="50" charset="-128"/>
              </a:endParaRPr>
            </a:p>
            <a:p>
              <a:pPr marR="0" lvl="0" algn="ctr" defTabSz="914400" rtl="0" eaLnBrk="1" fontAlgn="auto" latinLnBrk="0" hangingPunct="1">
                <a:lnSpc>
                  <a:spcPct val="100000"/>
                </a:lnSpc>
                <a:spcBef>
                  <a:spcPts val="0"/>
                </a:spcBef>
                <a:spcAft>
                  <a:spcPts val="0"/>
                </a:spcAft>
                <a:buClrTx/>
                <a:buSzTx/>
                <a:tabLst/>
                <a:defRPr/>
              </a:pPr>
              <a:r>
                <a:rPr kumimoji="0" lang="en-US" altLang="ja-JP" sz="1400" b="1" i="0" u="none" strike="noStrike" kern="1200" cap="none" spc="0" normalizeH="0" baseline="0" noProof="0">
                  <a:ln>
                    <a:noFill/>
                  </a:ln>
                  <a:solidFill>
                    <a:prstClr val="black"/>
                  </a:solidFill>
                  <a:effectLst/>
                  <a:uLnTx/>
                  <a:uFillTx/>
                  <a:latin typeface="Calibri"/>
                  <a:ea typeface="ＭＳ Ｐゴシック" pitchFamily="50" charset="-128"/>
                  <a:cs typeface="+mn-cs"/>
                </a:rPr>
                <a:t>Question</a:t>
              </a:r>
              <a:r>
                <a:rPr lang="en-US" altLang="ja-JP" sz="1400" b="1">
                  <a:solidFill>
                    <a:prstClr val="black"/>
                  </a:solidFill>
                  <a:latin typeface="Calibri"/>
                  <a:ea typeface="ＭＳ Ｐゴシック" pitchFamily="50" charset="-128"/>
                </a:rPr>
                <a:t>: </a:t>
              </a:r>
              <a:r>
                <a:rPr lang="en-US" altLang="ja-JP" sz="1400">
                  <a:solidFill>
                    <a:prstClr val="black"/>
                  </a:solidFill>
                  <a:latin typeface="Calibri"/>
                  <a:ea typeface="ＭＳ Ｐゴシック" pitchFamily="50" charset="-128"/>
                </a:rPr>
                <a:t>Are any of the genres undervalued?  </a:t>
              </a:r>
            </a:p>
            <a:p>
              <a:pPr marR="0" lvl="0" algn="ctr" defTabSz="914400" rtl="0" eaLnBrk="1" fontAlgn="auto" latinLnBrk="0" hangingPunct="1">
                <a:lnSpc>
                  <a:spcPct val="100000"/>
                </a:lnSpc>
                <a:spcBef>
                  <a:spcPts val="0"/>
                </a:spcBef>
                <a:spcAft>
                  <a:spcPts val="0"/>
                </a:spcAft>
                <a:buClrTx/>
                <a:buSzTx/>
                <a:tabLst/>
                <a:defRPr/>
              </a:pP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a:p>
              <a:pPr marR="0" lvl="0" algn="ctr" defTabSz="914400" rtl="0" eaLnBrk="1" fontAlgn="auto" latinLnBrk="0" hangingPunct="1">
                <a:lnSpc>
                  <a:spcPct val="100000"/>
                </a:lnSpc>
                <a:spcBef>
                  <a:spcPts val="0"/>
                </a:spcBef>
                <a:spcAft>
                  <a:spcPts val="0"/>
                </a:spcAft>
                <a:buClrTx/>
                <a:buSzTx/>
                <a:tabLst/>
                <a:defRPr/>
              </a:pPr>
              <a:r>
                <a:rPr kumimoji="0" lang="en-US" altLang="ja-JP" sz="1400" b="1" i="0" u="none" strike="noStrike" kern="1200" cap="none" spc="0" normalizeH="0" baseline="0" noProof="0">
                  <a:ln>
                    <a:noFill/>
                  </a:ln>
                  <a:solidFill>
                    <a:prstClr val="black"/>
                  </a:solidFill>
                  <a:effectLst/>
                  <a:uLnTx/>
                  <a:uFillTx/>
                  <a:latin typeface="Calibri"/>
                  <a:ea typeface="ＭＳ Ｐゴシック" pitchFamily="50" charset="-128"/>
                  <a:cs typeface="+mn-cs"/>
                </a:rPr>
                <a:t>Value: </a:t>
              </a:r>
              <a:r>
                <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rPr>
                <a:t>Identifying genres with high likability and low quantity of material</a:t>
              </a:r>
              <a:r>
                <a:rPr lang="en-US" altLang="ja-JP" sz="1400">
                  <a:solidFill>
                    <a:prstClr val="black"/>
                  </a:solidFill>
                  <a:latin typeface="Calibri"/>
                  <a:ea typeface="ＭＳ Ｐゴシック" pitchFamily="50" charset="-128"/>
                </a:rPr>
                <a:t> exposes an opening in the film industry for Computing Vision to successfully create in while facing minimal competition. </a:t>
              </a:r>
              <a:endParaRPr kumimoji="0" lang="en-US" altLang="ja-JP" sz="1400" b="0" i="0" u="none" strike="noStrike" kern="1200" cap="none" spc="0" normalizeH="0" baseline="0" noProof="0">
                <a:ln>
                  <a:noFill/>
                </a:ln>
                <a:solidFill>
                  <a:prstClr val="black"/>
                </a:solidFill>
                <a:effectLst/>
                <a:uLnTx/>
                <a:uFillTx/>
                <a:latin typeface="Calibri"/>
                <a:ea typeface="ＭＳ Ｐゴシック" pitchFamily="50" charset="-128"/>
                <a:cs typeface="+mn-cs"/>
              </a:endParaRPr>
            </a:p>
          </p:txBody>
        </p:sp>
      </p:grpSp>
      <p:sp>
        <p:nvSpPr>
          <p:cNvPr id="24" name="TextBox 23">
            <a:extLst>
              <a:ext uri="{FF2B5EF4-FFF2-40B4-BE49-F238E27FC236}">
                <a16:creationId xmlns:a16="http://schemas.microsoft.com/office/drawing/2014/main" id="{A97B0196-5DA5-49C1-96CD-8E9BBC272EC2}"/>
              </a:ext>
            </a:extLst>
          </p:cNvPr>
          <p:cNvSpPr txBox="1"/>
          <p:nvPr/>
        </p:nvSpPr>
        <p:spPr>
          <a:xfrm>
            <a:off x="4441295" y="1270353"/>
            <a:ext cx="2021194"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Genres</a:t>
            </a:r>
          </a:p>
        </p:txBody>
      </p:sp>
      <p:sp>
        <p:nvSpPr>
          <p:cNvPr id="25" name="TextBox 24">
            <a:extLst>
              <a:ext uri="{FF2B5EF4-FFF2-40B4-BE49-F238E27FC236}">
                <a16:creationId xmlns:a16="http://schemas.microsoft.com/office/drawing/2014/main" id="{3FA1FB7B-9223-48D3-B10E-90B7AA91E332}"/>
              </a:ext>
            </a:extLst>
          </p:cNvPr>
          <p:cNvSpPr txBox="1"/>
          <p:nvPr/>
        </p:nvSpPr>
        <p:spPr>
          <a:xfrm>
            <a:off x="6985929" y="1273193"/>
            <a:ext cx="2021194"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Actors</a:t>
            </a:r>
          </a:p>
        </p:txBody>
      </p:sp>
      <p:sp>
        <p:nvSpPr>
          <p:cNvPr id="26" name="TextBox 25">
            <a:extLst>
              <a:ext uri="{FF2B5EF4-FFF2-40B4-BE49-F238E27FC236}">
                <a16:creationId xmlns:a16="http://schemas.microsoft.com/office/drawing/2014/main" id="{5B326E7C-9F0E-4BE6-96C2-D19A360CCB22}"/>
              </a:ext>
            </a:extLst>
          </p:cNvPr>
          <p:cNvSpPr txBox="1"/>
          <p:nvPr/>
        </p:nvSpPr>
        <p:spPr>
          <a:xfrm>
            <a:off x="9542032" y="1270354"/>
            <a:ext cx="2021194"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Directors</a:t>
            </a:r>
          </a:p>
        </p:txBody>
      </p:sp>
      <p:sp>
        <p:nvSpPr>
          <p:cNvPr id="27" name="TextBox 26">
            <a:extLst>
              <a:ext uri="{FF2B5EF4-FFF2-40B4-BE49-F238E27FC236}">
                <a16:creationId xmlns:a16="http://schemas.microsoft.com/office/drawing/2014/main" id="{A5DA9DF0-1AF4-4CDF-8C25-17BD5C5D334A}"/>
              </a:ext>
            </a:extLst>
          </p:cNvPr>
          <p:cNvSpPr txBox="1"/>
          <p:nvPr/>
        </p:nvSpPr>
        <p:spPr>
          <a:xfrm>
            <a:off x="923407" y="1197586"/>
            <a:ext cx="212459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800" b="1">
                <a:solidFill>
                  <a:prstClr val="white"/>
                </a:solidFill>
                <a:latin typeface="Calibri"/>
                <a:ea typeface="ＭＳ Ｐゴシック" pitchFamily="50" charset="-128"/>
              </a:rPr>
              <a:t>Data Description </a:t>
            </a:r>
          </a:p>
        </p:txBody>
      </p:sp>
      <p:sp>
        <p:nvSpPr>
          <p:cNvPr id="28" name="TextBox 27">
            <a:extLst>
              <a:ext uri="{FF2B5EF4-FFF2-40B4-BE49-F238E27FC236}">
                <a16:creationId xmlns:a16="http://schemas.microsoft.com/office/drawing/2014/main" id="{BBBAE1CF-B3A3-4DF0-A542-5485391593E9}"/>
              </a:ext>
            </a:extLst>
          </p:cNvPr>
          <p:cNvSpPr txBox="1"/>
          <p:nvPr/>
        </p:nvSpPr>
        <p:spPr>
          <a:xfrm>
            <a:off x="341523" y="6367749"/>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29" name="TextBox 28">
            <a:extLst>
              <a:ext uri="{FF2B5EF4-FFF2-40B4-BE49-F238E27FC236}">
                <a16:creationId xmlns:a16="http://schemas.microsoft.com/office/drawing/2014/main" id="{AFAE966B-F677-4158-A09D-EB410313F3ED}"/>
              </a:ext>
            </a:extLst>
          </p:cNvPr>
          <p:cNvSpPr txBox="1"/>
          <p:nvPr/>
        </p:nvSpPr>
        <p:spPr>
          <a:xfrm>
            <a:off x="8370983" y="6367748"/>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9374991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lang="en-US">
                <a:latin typeface="Calibri"/>
              </a:rPr>
              <a:t>Breakdown of movie genres across the industry according to the average rating and quantities of movies in each genre </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1 - Genre</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graphicFrame>
        <p:nvGraphicFramePr>
          <p:cNvPr id="4" name="Table 4">
            <a:extLst>
              <a:ext uri="{FF2B5EF4-FFF2-40B4-BE49-F238E27FC236}">
                <a16:creationId xmlns:a16="http://schemas.microsoft.com/office/drawing/2014/main" id="{2A9FCF2A-0C87-4CF8-B7D4-351311BFA5B1}"/>
              </a:ext>
            </a:extLst>
          </p:cNvPr>
          <p:cNvGraphicFramePr>
            <a:graphicFrameLocks noGrp="1"/>
          </p:cNvGraphicFramePr>
          <p:nvPr>
            <p:extLst>
              <p:ext uri="{D42A27DB-BD31-4B8C-83A1-F6EECF244321}">
                <p14:modId xmlns:p14="http://schemas.microsoft.com/office/powerpoint/2010/main" val="1117477055"/>
              </p:ext>
            </p:extLst>
          </p:nvPr>
        </p:nvGraphicFramePr>
        <p:xfrm>
          <a:off x="456483" y="1920895"/>
          <a:ext cx="3890470" cy="3058125"/>
        </p:xfrm>
        <a:graphic>
          <a:graphicData uri="http://schemas.openxmlformats.org/drawingml/2006/table">
            <a:tbl>
              <a:tblPr firstRow="1" bandRow="1">
                <a:tableStyleId>{93296810-A885-4BE3-A3E7-6D5BEEA58F35}</a:tableStyleId>
              </a:tblPr>
              <a:tblGrid>
                <a:gridCol w="3890470">
                  <a:extLst>
                    <a:ext uri="{9D8B030D-6E8A-4147-A177-3AD203B41FA5}">
                      <a16:colId xmlns:a16="http://schemas.microsoft.com/office/drawing/2014/main" val="2231351577"/>
                    </a:ext>
                  </a:extLst>
                </a:gridCol>
              </a:tblGrid>
              <a:tr h="611625">
                <a:tc>
                  <a:txBody>
                    <a:bodyPr/>
                    <a:lstStyle/>
                    <a:p>
                      <a:pPr algn="ctr"/>
                      <a:r>
                        <a:rPr lang="en-US" sz="2400"/>
                        <a:t>Scatter Plot Data</a:t>
                      </a:r>
                    </a:p>
                  </a:txBody>
                  <a:tcPr anchor="ctr"/>
                </a:tc>
                <a:extLst>
                  <a:ext uri="{0D108BD9-81ED-4DB2-BD59-A6C34878D82A}">
                    <a16:rowId xmlns:a16="http://schemas.microsoft.com/office/drawing/2014/main" val="652569038"/>
                  </a:ext>
                </a:extLst>
              </a:tr>
              <a:tr h="611625">
                <a:tc>
                  <a:txBody>
                    <a:bodyPr/>
                    <a:lstStyle/>
                    <a:p>
                      <a:pPr algn="ctr"/>
                      <a:r>
                        <a:rPr lang="en-US"/>
                        <a:t>Average Rating </a:t>
                      </a:r>
                    </a:p>
                  </a:txBody>
                  <a:tcPr anchor="ctr"/>
                </a:tc>
                <a:extLst>
                  <a:ext uri="{0D108BD9-81ED-4DB2-BD59-A6C34878D82A}">
                    <a16:rowId xmlns:a16="http://schemas.microsoft.com/office/drawing/2014/main" val="3220165579"/>
                  </a:ext>
                </a:extLst>
              </a:tr>
              <a:tr h="611625">
                <a:tc>
                  <a:txBody>
                    <a:bodyPr/>
                    <a:lstStyle/>
                    <a:p>
                      <a:pPr algn="ctr"/>
                      <a:r>
                        <a:rPr lang="en-US" b="1"/>
                        <a:t>6.1/10</a:t>
                      </a:r>
                    </a:p>
                  </a:txBody>
                  <a:tcPr anchor="ctr"/>
                </a:tc>
                <a:extLst>
                  <a:ext uri="{0D108BD9-81ED-4DB2-BD59-A6C34878D82A}">
                    <a16:rowId xmlns:a16="http://schemas.microsoft.com/office/drawing/2014/main" val="592907234"/>
                  </a:ext>
                </a:extLst>
              </a:tr>
              <a:tr h="611625">
                <a:tc>
                  <a:txBody>
                    <a:bodyPr/>
                    <a:lstStyle/>
                    <a:p>
                      <a:pPr algn="ctr"/>
                      <a:r>
                        <a:rPr lang="en-US"/>
                        <a:t>Average Total Number of Movies</a:t>
                      </a:r>
                    </a:p>
                  </a:txBody>
                  <a:tcPr anchor="ctr"/>
                </a:tc>
                <a:extLst>
                  <a:ext uri="{0D108BD9-81ED-4DB2-BD59-A6C34878D82A}">
                    <a16:rowId xmlns:a16="http://schemas.microsoft.com/office/drawing/2014/main" val="3112153822"/>
                  </a:ext>
                </a:extLst>
              </a:tr>
              <a:tr h="611625">
                <a:tc>
                  <a:txBody>
                    <a:bodyPr/>
                    <a:lstStyle/>
                    <a:p>
                      <a:pPr algn="ctr"/>
                      <a:r>
                        <a:rPr lang="en-US" b="1"/>
                        <a:t>2262</a:t>
                      </a:r>
                    </a:p>
                  </a:txBody>
                  <a:tcPr anchor="ctr"/>
                </a:tc>
                <a:extLst>
                  <a:ext uri="{0D108BD9-81ED-4DB2-BD59-A6C34878D82A}">
                    <a16:rowId xmlns:a16="http://schemas.microsoft.com/office/drawing/2014/main" val="2565742747"/>
                  </a:ext>
                </a:extLst>
              </a:tr>
            </a:tbl>
          </a:graphicData>
        </a:graphic>
      </p:graphicFrame>
      <p:pic>
        <p:nvPicPr>
          <p:cNvPr id="9" name="Picture 8" descr="Chart, scatter chart&#10;&#10;Description automatically generated">
            <a:extLst>
              <a:ext uri="{FF2B5EF4-FFF2-40B4-BE49-F238E27FC236}">
                <a16:creationId xmlns:a16="http://schemas.microsoft.com/office/drawing/2014/main" id="{9B569E1B-015D-4339-B635-271D81A10D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2496" y="1207371"/>
            <a:ext cx="7373021" cy="5117679"/>
          </a:xfrm>
          <a:prstGeom prst="rect">
            <a:avLst/>
          </a:prstGeom>
        </p:spPr>
      </p:pic>
      <p:sp>
        <p:nvSpPr>
          <p:cNvPr id="2" name="Rectangle 1">
            <a:extLst>
              <a:ext uri="{FF2B5EF4-FFF2-40B4-BE49-F238E27FC236}">
                <a16:creationId xmlns:a16="http://schemas.microsoft.com/office/drawing/2014/main" id="{048A95A8-F1D3-4C1B-94AE-70B0DC31F5E5}"/>
              </a:ext>
            </a:extLst>
          </p:cNvPr>
          <p:cNvSpPr/>
          <p:nvPr/>
        </p:nvSpPr>
        <p:spPr>
          <a:xfrm>
            <a:off x="9504830" y="5185121"/>
            <a:ext cx="2063715" cy="45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4082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599"/>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The music genre is the most lucrative genre due to its above average ratings and market size.  </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1 - Genre</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sp>
        <p:nvSpPr>
          <p:cNvPr id="10" name="TextBox 9">
            <a:extLst>
              <a:ext uri="{FF2B5EF4-FFF2-40B4-BE49-F238E27FC236}">
                <a16:creationId xmlns:a16="http://schemas.microsoft.com/office/drawing/2014/main" id="{CC084EB8-A170-4C5C-93A0-0CDCAD55355E}"/>
              </a:ext>
            </a:extLst>
          </p:cNvPr>
          <p:cNvSpPr txBox="1"/>
          <p:nvPr/>
        </p:nvSpPr>
        <p:spPr>
          <a:xfrm>
            <a:off x="10566850" y="1082733"/>
            <a:ext cx="914400" cy="369332"/>
          </a:xfrm>
          <a:prstGeom prst="rect">
            <a:avLst/>
          </a:prstGeom>
          <a:noFill/>
        </p:spPr>
        <p:txBody>
          <a:bodyPr wrap="square" rtlCol="0">
            <a:spAutoFit/>
          </a:bodyPr>
          <a:lstStyle/>
          <a:p>
            <a:r>
              <a:rPr lang="en-US"/>
              <a:t>Music</a:t>
            </a:r>
          </a:p>
        </p:txBody>
      </p:sp>
      <p:graphicFrame>
        <p:nvGraphicFramePr>
          <p:cNvPr id="13" name="Table 4">
            <a:extLst>
              <a:ext uri="{FF2B5EF4-FFF2-40B4-BE49-F238E27FC236}">
                <a16:creationId xmlns:a16="http://schemas.microsoft.com/office/drawing/2014/main" id="{3BBE7CB4-ABEA-4552-9877-A5CB13613A49}"/>
              </a:ext>
            </a:extLst>
          </p:cNvPr>
          <p:cNvGraphicFramePr>
            <a:graphicFrameLocks noGrp="1"/>
          </p:cNvGraphicFramePr>
          <p:nvPr>
            <p:extLst>
              <p:ext uri="{D42A27DB-BD31-4B8C-83A1-F6EECF244321}">
                <p14:modId xmlns:p14="http://schemas.microsoft.com/office/powerpoint/2010/main" val="1614163982"/>
              </p:ext>
            </p:extLst>
          </p:nvPr>
        </p:nvGraphicFramePr>
        <p:xfrm>
          <a:off x="501650" y="1319797"/>
          <a:ext cx="4064000" cy="3927248"/>
        </p:xfrm>
        <a:graphic>
          <a:graphicData uri="http://schemas.openxmlformats.org/drawingml/2006/table">
            <a:tbl>
              <a:tblPr firstRow="1" bandRow="1">
                <a:tableStyleId>{93296810-A885-4BE3-A3E7-6D5BEEA58F35}</a:tableStyleId>
              </a:tblPr>
              <a:tblGrid>
                <a:gridCol w="4064000">
                  <a:extLst>
                    <a:ext uri="{9D8B030D-6E8A-4147-A177-3AD203B41FA5}">
                      <a16:colId xmlns:a16="http://schemas.microsoft.com/office/drawing/2014/main" val="2231351577"/>
                    </a:ext>
                  </a:extLst>
                </a:gridCol>
              </a:tblGrid>
              <a:tr h="437067">
                <a:tc>
                  <a:txBody>
                    <a:bodyPr/>
                    <a:lstStyle/>
                    <a:p>
                      <a:pPr algn="ctr"/>
                      <a:r>
                        <a:rPr lang="en-US" sz="2400"/>
                        <a:t>Scatter Plot Data</a:t>
                      </a:r>
                    </a:p>
                  </a:txBody>
                  <a:tcPr anchor="ctr">
                    <a:solidFill>
                      <a:srgbClr val="70AD47"/>
                    </a:solidFill>
                  </a:tcPr>
                </a:tc>
                <a:extLst>
                  <a:ext uri="{0D108BD9-81ED-4DB2-BD59-A6C34878D82A}">
                    <a16:rowId xmlns:a16="http://schemas.microsoft.com/office/drawing/2014/main" val="652569038"/>
                  </a:ext>
                </a:extLst>
              </a:tr>
              <a:tr h="433756">
                <a:tc>
                  <a:txBody>
                    <a:bodyPr/>
                    <a:lstStyle/>
                    <a:p>
                      <a:pPr algn="ctr"/>
                      <a:r>
                        <a:rPr lang="en-US"/>
                        <a:t>Average Rating </a:t>
                      </a:r>
                    </a:p>
                  </a:txBody>
                  <a:tcPr anchor="ctr"/>
                </a:tc>
                <a:extLst>
                  <a:ext uri="{0D108BD9-81ED-4DB2-BD59-A6C34878D82A}">
                    <a16:rowId xmlns:a16="http://schemas.microsoft.com/office/drawing/2014/main" val="3220165579"/>
                  </a:ext>
                </a:extLst>
              </a:tr>
              <a:tr h="433756">
                <a:tc>
                  <a:txBody>
                    <a:bodyPr/>
                    <a:lstStyle/>
                    <a:p>
                      <a:pPr algn="ctr"/>
                      <a:r>
                        <a:rPr lang="en-US" b="1"/>
                        <a:t>6.9/10</a:t>
                      </a:r>
                    </a:p>
                  </a:txBody>
                  <a:tcPr anchor="ctr"/>
                </a:tc>
                <a:extLst>
                  <a:ext uri="{0D108BD9-81ED-4DB2-BD59-A6C34878D82A}">
                    <a16:rowId xmlns:a16="http://schemas.microsoft.com/office/drawing/2014/main" val="592907234"/>
                  </a:ext>
                </a:extLst>
              </a:tr>
              <a:tr h="433756">
                <a:tc>
                  <a:txBody>
                    <a:bodyPr/>
                    <a:lstStyle/>
                    <a:p>
                      <a:pPr algn="ctr"/>
                      <a:r>
                        <a:rPr lang="en-US"/>
                        <a:t>Music Genre Rating </a:t>
                      </a:r>
                    </a:p>
                  </a:txBody>
                  <a:tcPr anchor="ctr"/>
                </a:tc>
                <a:extLst>
                  <a:ext uri="{0D108BD9-81ED-4DB2-BD59-A6C34878D82A}">
                    <a16:rowId xmlns:a16="http://schemas.microsoft.com/office/drawing/2014/main" val="3112153822"/>
                  </a:ext>
                </a:extLst>
              </a:tr>
              <a:tr h="433756">
                <a:tc>
                  <a:txBody>
                    <a:bodyPr/>
                    <a:lstStyle/>
                    <a:p>
                      <a:pPr algn="ctr"/>
                      <a:r>
                        <a:rPr lang="en-US" b="1"/>
                        <a:t>7.2/10</a:t>
                      </a:r>
                    </a:p>
                  </a:txBody>
                  <a:tcPr anchor="ctr"/>
                </a:tc>
                <a:extLst>
                  <a:ext uri="{0D108BD9-81ED-4DB2-BD59-A6C34878D82A}">
                    <a16:rowId xmlns:a16="http://schemas.microsoft.com/office/drawing/2014/main" val="2565742747"/>
                  </a:ext>
                </a:extLst>
              </a:tr>
              <a:tr h="433756">
                <a:tc>
                  <a:txBody>
                    <a:bodyPr/>
                    <a:lstStyle/>
                    <a:p>
                      <a:pPr algn="ctr"/>
                      <a:r>
                        <a:rPr lang="en-US"/>
                        <a:t>Average Total Number of Movies</a:t>
                      </a:r>
                    </a:p>
                  </a:txBody>
                  <a:tcPr anchor="ctr"/>
                </a:tc>
                <a:extLst>
                  <a:ext uri="{0D108BD9-81ED-4DB2-BD59-A6C34878D82A}">
                    <a16:rowId xmlns:a16="http://schemas.microsoft.com/office/drawing/2014/main" val="2363893216"/>
                  </a:ext>
                </a:extLst>
              </a:tr>
              <a:tr h="433756">
                <a:tc>
                  <a:txBody>
                    <a:bodyPr/>
                    <a:lstStyle/>
                    <a:p>
                      <a:pPr algn="ctr"/>
                      <a:r>
                        <a:rPr lang="en-US" b="1"/>
                        <a:t>166</a:t>
                      </a:r>
                    </a:p>
                  </a:txBody>
                  <a:tcPr anchor="ctr"/>
                </a:tc>
                <a:extLst>
                  <a:ext uri="{0D108BD9-81ED-4DB2-BD59-A6C34878D82A}">
                    <a16:rowId xmlns:a16="http://schemas.microsoft.com/office/drawing/2014/main" val="3428751070"/>
                  </a:ext>
                </a:extLst>
              </a:tr>
              <a:tr h="433756">
                <a:tc>
                  <a:txBody>
                    <a:bodyPr/>
                    <a:lstStyle/>
                    <a:p>
                      <a:pPr algn="ctr"/>
                      <a:r>
                        <a:rPr lang="en-US"/>
                        <a:t>Music Genre Number of Movies </a:t>
                      </a:r>
                    </a:p>
                  </a:txBody>
                  <a:tcPr anchor="ctr"/>
                </a:tc>
                <a:extLst>
                  <a:ext uri="{0D108BD9-81ED-4DB2-BD59-A6C34878D82A}">
                    <a16:rowId xmlns:a16="http://schemas.microsoft.com/office/drawing/2014/main" val="1536097221"/>
                  </a:ext>
                </a:extLst>
              </a:tr>
              <a:tr h="433756">
                <a:tc>
                  <a:txBody>
                    <a:bodyPr/>
                    <a:lstStyle/>
                    <a:p>
                      <a:pPr algn="ctr"/>
                      <a:r>
                        <a:rPr lang="en-US" b="1"/>
                        <a:t>308</a:t>
                      </a:r>
                    </a:p>
                  </a:txBody>
                  <a:tcPr anchor="ctr"/>
                </a:tc>
                <a:extLst>
                  <a:ext uri="{0D108BD9-81ED-4DB2-BD59-A6C34878D82A}">
                    <a16:rowId xmlns:a16="http://schemas.microsoft.com/office/drawing/2014/main" val="1240725393"/>
                  </a:ext>
                </a:extLst>
              </a:tr>
            </a:tbl>
          </a:graphicData>
        </a:graphic>
      </p:graphicFrame>
      <p:graphicFrame>
        <p:nvGraphicFramePr>
          <p:cNvPr id="14" name="Table 4">
            <a:extLst>
              <a:ext uri="{FF2B5EF4-FFF2-40B4-BE49-F238E27FC236}">
                <a16:creationId xmlns:a16="http://schemas.microsoft.com/office/drawing/2014/main" id="{B6B91FF5-F728-42AA-9B16-CBDCFD98DA86}"/>
              </a:ext>
            </a:extLst>
          </p:cNvPr>
          <p:cNvGraphicFramePr>
            <a:graphicFrameLocks noGrp="1"/>
          </p:cNvGraphicFramePr>
          <p:nvPr>
            <p:extLst>
              <p:ext uri="{D42A27DB-BD31-4B8C-83A1-F6EECF244321}">
                <p14:modId xmlns:p14="http://schemas.microsoft.com/office/powerpoint/2010/main" val="3872303523"/>
              </p:ext>
            </p:extLst>
          </p:nvPr>
        </p:nvGraphicFramePr>
        <p:xfrm>
          <a:off x="501650" y="5250209"/>
          <a:ext cx="4064000" cy="1226144"/>
        </p:xfrm>
        <a:graphic>
          <a:graphicData uri="http://schemas.openxmlformats.org/drawingml/2006/table">
            <a:tbl>
              <a:tblPr firstRow="1" bandRow="1">
                <a:tableStyleId>{93296810-A885-4BE3-A3E7-6D5BEEA58F35}</a:tableStyleId>
              </a:tblPr>
              <a:tblGrid>
                <a:gridCol w="4064000">
                  <a:extLst>
                    <a:ext uri="{9D8B030D-6E8A-4147-A177-3AD203B41FA5}">
                      <a16:colId xmlns:a16="http://schemas.microsoft.com/office/drawing/2014/main" val="2231351577"/>
                    </a:ext>
                  </a:extLst>
                </a:gridCol>
              </a:tblGrid>
              <a:tr h="345026">
                <a:tc>
                  <a:txBody>
                    <a:bodyPr/>
                    <a:lstStyle/>
                    <a:p>
                      <a:pPr algn="ctr"/>
                      <a:r>
                        <a:rPr lang="en-US" sz="2400"/>
                        <a:t>Statistical Test</a:t>
                      </a:r>
                    </a:p>
                  </a:txBody>
                  <a:tcPr anchor="ctr"/>
                </a:tc>
                <a:extLst>
                  <a:ext uri="{0D108BD9-81ED-4DB2-BD59-A6C34878D82A}">
                    <a16:rowId xmlns:a16="http://schemas.microsoft.com/office/drawing/2014/main" val="652569038"/>
                  </a:ext>
                </a:extLst>
              </a:tr>
              <a:tr h="384472">
                <a:tc>
                  <a:txBody>
                    <a:bodyPr/>
                    <a:lstStyle/>
                    <a:p>
                      <a:pPr algn="ctr"/>
                      <a:r>
                        <a:rPr lang="en-US"/>
                        <a:t>Hypothesis Test</a:t>
                      </a:r>
                    </a:p>
                  </a:txBody>
                  <a:tcPr anchor="ctr"/>
                </a:tc>
                <a:extLst>
                  <a:ext uri="{0D108BD9-81ED-4DB2-BD59-A6C34878D82A}">
                    <a16:rowId xmlns:a16="http://schemas.microsoft.com/office/drawing/2014/main" val="3220165579"/>
                  </a:ext>
                </a:extLst>
              </a:tr>
              <a:tr h="384472">
                <a:tc>
                  <a:txBody>
                    <a:bodyPr/>
                    <a:lstStyle/>
                    <a:p>
                      <a:pPr algn="ctr"/>
                      <a:r>
                        <a:rPr lang="en-US" b="1"/>
                        <a:t>Passed</a:t>
                      </a:r>
                    </a:p>
                  </a:txBody>
                  <a:tcPr anchor="ctr"/>
                </a:tc>
                <a:extLst>
                  <a:ext uri="{0D108BD9-81ED-4DB2-BD59-A6C34878D82A}">
                    <a16:rowId xmlns:a16="http://schemas.microsoft.com/office/drawing/2014/main" val="592907234"/>
                  </a:ext>
                </a:extLst>
              </a:tr>
            </a:tbl>
          </a:graphicData>
        </a:graphic>
      </p:graphicFrame>
      <p:pic>
        <p:nvPicPr>
          <p:cNvPr id="12" name="Picture 11" descr="Chart, scatter chart&#10;&#10;Description automatically generated">
            <a:extLst>
              <a:ext uri="{FF2B5EF4-FFF2-40B4-BE49-F238E27FC236}">
                <a16:creationId xmlns:a16="http://schemas.microsoft.com/office/drawing/2014/main" id="{D8BA3EFE-FD91-4FC5-8EB3-8C36249193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6756" y="1151266"/>
            <a:ext cx="7404296" cy="5287139"/>
          </a:xfrm>
          <a:prstGeom prst="rect">
            <a:avLst/>
          </a:prstGeom>
        </p:spPr>
      </p:pic>
      <p:sp>
        <p:nvSpPr>
          <p:cNvPr id="8" name="Arrow: Down 7">
            <a:extLst>
              <a:ext uri="{FF2B5EF4-FFF2-40B4-BE49-F238E27FC236}">
                <a16:creationId xmlns:a16="http://schemas.microsoft.com/office/drawing/2014/main" id="{D5B6ADD2-5402-448C-A56A-55C91714D636}"/>
              </a:ext>
            </a:extLst>
          </p:cNvPr>
          <p:cNvSpPr/>
          <p:nvPr/>
        </p:nvSpPr>
        <p:spPr>
          <a:xfrm rot="13682307">
            <a:off x="11171710" y="1727495"/>
            <a:ext cx="309891" cy="535247"/>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D600B80-79E4-4950-8E28-4305C2A4A310}"/>
              </a:ext>
            </a:extLst>
          </p:cNvPr>
          <p:cNvSpPr txBox="1"/>
          <p:nvPr/>
        </p:nvSpPr>
        <p:spPr>
          <a:xfrm>
            <a:off x="10475744" y="2085513"/>
            <a:ext cx="914400" cy="369332"/>
          </a:xfrm>
          <a:prstGeom prst="rect">
            <a:avLst/>
          </a:prstGeom>
          <a:noFill/>
        </p:spPr>
        <p:txBody>
          <a:bodyPr wrap="square" rtlCol="0">
            <a:spAutoFit/>
          </a:bodyPr>
          <a:lstStyle/>
          <a:p>
            <a:r>
              <a:rPr lang="en-US">
                <a:solidFill>
                  <a:srgbClr val="FF0000"/>
                </a:solidFill>
              </a:rPr>
              <a:t>Music</a:t>
            </a:r>
            <a:r>
              <a:rPr lang="en-US"/>
              <a:t> </a:t>
            </a:r>
          </a:p>
        </p:txBody>
      </p:sp>
    </p:spTree>
    <p:extLst>
      <p:ext uri="{BB962C8B-B14F-4D97-AF65-F5344CB8AC3E}">
        <p14:creationId xmlns:p14="http://schemas.microsoft.com/office/powerpoint/2010/main" val="1906708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Correlation between movie cast size and average moving rating </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Recommendation 2 - Cast</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pic>
        <p:nvPicPr>
          <p:cNvPr id="4" name="Picture 3" descr="Chart, box and whisker chart&#10;&#10;Description automatically generated">
            <a:extLst>
              <a:ext uri="{FF2B5EF4-FFF2-40B4-BE49-F238E27FC236}">
                <a16:creationId xmlns:a16="http://schemas.microsoft.com/office/drawing/2014/main" id="{E3AA3A18-63AC-498D-8EB4-86A72E5A57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399" y="1617888"/>
            <a:ext cx="4760545" cy="3837273"/>
          </a:xfrm>
          <a:prstGeom prst="rect">
            <a:avLst/>
          </a:prstGeom>
        </p:spPr>
      </p:pic>
      <p:pic>
        <p:nvPicPr>
          <p:cNvPr id="6" name="Picture 5" descr="Chart&#10;&#10;Description automatically generated">
            <a:extLst>
              <a:ext uri="{FF2B5EF4-FFF2-40B4-BE49-F238E27FC236}">
                <a16:creationId xmlns:a16="http://schemas.microsoft.com/office/drawing/2014/main" id="{3E02AEB6-1305-473A-B66F-BE3BD033FF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617888"/>
            <a:ext cx="5528344" cy="3837272"/>
          </a:xfrm>
          <a:prstGeom prst="rect">
            <a:avLst/>
          </a:prstGeom>
        </p:spPr>
      </p:pic>
      <p:sp>
        <p:nvSpPr>
          <p:cNvPr id="7" name="TextBox 6">
            <a:extLst>
              <a:ext uri="{FF2B5EF4-FFF2-40B4-BE49-F238E27FC236}">
                <a16:creationId xmlns:a16="http://schemas.microsoft.com/office/drawing/2014/main" id="{8C783F1E-036F-4202-9BD1-9F0B6ADEEFBA}"/>
              </a:ext>
            </a:extLst>
          </p:cNvPr>
          <p:cNvSpPr txBox="1"/>
          <p:nvPr/>
        </p:nvSpPr>
        <p:spPr>
          <a:xfrm>
            <a:off x="1505117" y="5837068"/>
            <a:ext cx="3649509" cy="646331"/>
          </a:xfrm>
          <a:prstGeom prst="rect">
            <a:avLst/>
          </a:prstGeom>
          <a:solidFill>
            <a:srgbClr val="70AD47"/>
          </a:solidFill>
        </p:spPr>
        <p:txBody>
          <a:bodyPr wrap="square" rtlCol="0">
            <a:spAutoFit/>
          </a:bodyPr>
          <a:lstStyle/>
          <a:p>
            <a:r>
              <a:rPr lang="en-US">
                <a:solidFill>
                  <a:schemeClr val="bg1"/>
                </a:solidFill>
              </a:rPr>
              <a:t>Cast size does not affect movie overall rating	 </a:t>
            </a:r>
          </a:p>
        </p:txBody>
      </p:sp>
      <p:sp>
        <p:nvSpPr>
          <p:cNvPr id="11" name="TextBox 10">
            <a:extLst>
              <a:ext uri="{FF2B5EF4-FFF2-40B4-BE49-F238E27FC236}">
                <a16:creationId xmlns:a16="http://schemas.microsoft.com/office/drawing/2014/main" id="{32EB5E82-8C56-4585-A4BA-4689806B5AF4}"/>
              </a:ext>
            </a:extLst>
          </p:cNvPr>
          <p:cNvSpPr txBox="1"/>
          <p:nvPr/>
        </p:nvSpPr>
        <p:spPr>
          <a:xfrm>
            <a:off x="7540427" y="5837068"/>
            <a:ext cx="3545661" cy="646331"/>
          </a:xfrm>
          <a:prstGeom prst="rect">
            <a:avLst/>
          </a:prstGeom>
          <a:solidFill>
            <a:srgbClr val="70AD47"/>
          </a:solidFill>
        </p:spPr>
        <p:txBody>
          <a:bodyPr wrap="square" rtlCol="0">
            <a:spAutoFit/>
          </a:bodyPr>
          <a:lstStyle/>
          <a:p>
            <a:r>
              <a:rPr lang="en-US">
                <a:solidFill>
                  <a:schemeClr val="bg1"/>
                </a:solidFill>
              </a:rPr>
              <a:t>The most popular cast features four main characters</a:t>
            </a:r>
          </a:p>
        </p:txBody>
      </p:sp>
    </p:spTree>
    <p:extLst>
      <p:ext uri="{BB962C8B-B14F-4D97-AF65-F5344CB8AC3E}">
        <p14:creationId xmlns:p14="http://schemas.microsoft.com/office/powerpoint/2010/main" val="1558825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gn="ct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8</Slides>
  <Notes>18</Notes>
  <HiddenSlides>2</HiddenSlides>
  <ScaleCrop>false</ScaleCrop>
  <HeadingPairs>
    <vt:vector size="4" baseType="variant">
      <vt:variant>
        <vt:lpstr>Theme</vt:lpstr>
      </vt:variant>
      <vt:variant>
        <vt:i4>4</vt:i4>
      </vt:variant>
      <vt:variant>
        <vt:lpstr>Slide Titles</vt:lpstr>
      </vt:variant>
      <vt:variant>
        <vt:i4>18</vt:i4>
      </vt:variant>
    </vt:vector>
  </HeadingPairs>
  <TitlesOfParts>
    <vt:vector size="22" baseType="lpstr">
      <vt:lpstr>Office Theme</vt:lpstr>
      <vt:lpstr>Deloitte Brand Theme</vt:lpstr>
      <vt:lpstr>2_Deloitte Brand Theme</vt:lpstr>
      <vt:lpstr>4_Deloitte Brand Theme</vt:lpstr>
      <vt:lpstr> Studio Pod Analytics  Computing Vision: Film Type Discovery </vt:lpstr>
      <vt:lpstr>PowerPoint Presentation</vt:lpstr>
      <vt:lpstr>Agenda</vt:lpstr>
      <vt:lpstr>PowerPoint Presentation</vt:lpstr>
      <vt:lpstr>PowerPoint Presentation</vt:lpstr>
      <vt:lpstr>Analysis Gene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saker, Sheri</dc:creator>
  <cp:revision>1</cp:revision>
  <dcterms:created xsi:type="dcterms:W3CDTF">2022-10-24T21:12:50Z</dcterms:created>
  <dcterms:modified xsi:type="dcterms:W3CDTF">2022-10-28T17: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0-24T21:12:5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98d56cd-3fdb-4800-8245-568e936adb4c</vt:lpwstr>
  </property>
  <property fmtid="{D5CDD505-2E9C-101B-9397-08002B2CF9AE}" pid="8" name="MSIP_Label_ea60d57e-af5b-4752-ac57-3e4f28ca11dc_ContentBits">
    <vt:lpwstr>0</vt:lpwstr>
  </property>
</Properties>
</file>